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307" r:id="rId3"/>
    <p:sldId id="308" r:id="rId4"/>
    <p:sldId id="338" r:id="rId5"/>
    <p:sldId id="341" r:id="rId6"/>
    <p:sldId id="335" r:id="rId7"/>
    <p:sldId id="350" r:id="rId8"/>
    <p:sldId id="337" r:id="rId9"/>
    <p:sldId id="342" r:id="rId10"/>
    <p:sldId id="309" r:id="rId11"/>
    <p:sldId id="348" r:id="rId12"/>
    <p:sldId id="349" r:id="rId13"/>
    <p:sldId id="344" r:id="rId14"/>
    <p:sldId id="270" r:id="rId15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pos="5012" userDrawn="1">
          <p15:clr>
            <a:srgbClr val="A4A3A4"/>
          </p15:clr>
        </p15:guide>
        <p15:guide id="3" pos="5556" userDrawn="1">
          <p15:clr>
            <a:srgbClr val="A4A3A4"/>
          </p15:clr>
        </p15:guide>
        <p15:guide id="4" pos="385" userDrawn="1">
          <p15:clr>
            <a:srgbClr val="A4A3A4"/>
          </p15:clr>
        </p15:guide>
        <p15:guide id="5" orient="horz" pos="527" userDrawn="1">
          <p15:clr>
            <a:srgbClr val="A4A3A4"/>
          </p15:clr>
        </p15:guide>
        <p15:guide id="6" pos="4377" userDrawn="1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1655" userDrawn="1">
          <p15:clr>
            <a:srgbClr val="A4A3A4"/>
          </p15:clr>
        </p15:guide>
        <p15:guide id="9" pos="3061" userDrawn="1">
          <p15:clr>
            <a:srgbClr val="A4A3A4"/>
          </p15:clr>
        </p15:guide>
        <p15:guide id="10" orient="horz" pos="197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FF7"/>
    <a:srgbClr val="228099"/>
    <a:srgbClr val="000000"/>
    <a:srgbClr val="6FBFE7"/>
    <a:srgbClr val="D2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87685" autoAdjust="0"/>
  </p:normalViewPr>
  <p:slideViewPr>
    <p:cSldViewPr>
      <p:cViewPr varScale="1">
        <p:scale>
          <a:sx n="62" d="100"/>
          <a:sy n="62" d="100"/>
        </p:scale>
        <p:origin x="931" y="34"/>
      </p:cViewPr>
      <p:guideLst>
        <p:guide orient="horz" pos="1071"/>
        <p:guide pos="5012"/>
        <p:guide pos="5556"/>
        <p:guide pos="385"/>
        <p:guide orient="horz" pos="527"/>
        <p:guide pos="4377"/>
        <p:guide pos="2880"/>
        <p:guide pos="1655"/>
        <p:guide pos="3061"/>
        <p:guide orient="horz" pos="1979"/>
      </p:guideLst>
    </p:cSldViewPr>
  </p:slideViewPr>
  <p:outlineViewPr>
    <p:cViewPr>
      <p:scale>
        <a:sx n="33" d="100"/>
        <a:sy n="33" d="100"/>
      </p:scale>
      <p:origin x="0" y="-4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Relationship Id="rId4" Type="http://schemas.openxmlformats.org/officeDocument/2006/relationships/image" Target="../media/image8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image" Target="../media/image5.jpeg"/><Relationship Id="rId4" Type="http://schemas.openxmlformats.org/officeDocument/2006/relationships/image" Target="../media/image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F5FB912-90D9-429B-AAB6-F608354339C8}" type="doc">
      <dgm:prSet loTypeId="urn:microsoft.com/office/officeart/2008/layout/AccentedPicture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F4B4425-E276-42D4-855E-C3E20E390D1C}">
      <dgm:prSet phldrT="[Текст]" custT="1"/>
      <dgm:spPr/>
      <dgm:t>
        <a:bodyPr/>
        <a:lstStyle/>
        <a:p>
          <a:endParaRPr lang="ru-RU" sz="2400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4523A2-E037-4499-A98C-ED81148C2E40}" type="parTrans" cxnId="{F8DF5DD2-F331-4F53-A702-DBED771F0D92}">
      <dgm:prSet/>
      <dgm:spPr/>
      <dgm:t>
        <a:bodyPr/>
        <a:lstStyle/>
        <a:p>
          <a:endParaRPr lang="ru-RU"/>
        </a:p>
      </dgm:t>
    </dgm:pt>
    <dgm:pt modelId="{7BA4E9C8-BE4F-45B1-A47F-78BC8D9EFB96}" type="sibTrans" cxnId="{F8DF5DD2-F331-4F53-A702-DBED771F0D92}">
      <dgm:prSet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</dgm:spPr>
      <dgm:t>
        <a:bodyPr/>
        <a:lstStyle/>
        <a:p>
          <a:endParaRPr lang="ru-RU"/>
        </a:p>
      </dgm:t>
    </dgm:pt>
    <dgm:pt modelId="{E1CB8621-B31A-4AB7-BC1C-484280C3D87D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УЧАСТНИКИ КОНТРОЛЯ</a:t>
          </a:r>
        </a:p>
      </dgm:t>
    </dgm:pt>
    <dgm:pt modelId="{FD2068B4-7D56-4474-8103-81CEC714E0C5}" type="parTrans" cxnId="{4B246A49-D69B-4FB3-935B-9648AC921B7F}">
      <dgm:prSet/>
      <dgm:spPr/>
      <dgm:t>
        <a:bodyPr/>
        <a:lstStyle/>
        <a:p>
          <a:endParaRPr lang="ru-RU"/>
        </a:p>
      </dgm:t>
    </dgm:pt>
    <dgm:pt modelId="{95A0047C-F2FB-4215-AF04-A94187BBDC15}" type="sibTrans" cxnId="{4B246A49-D69B-4FB3-935B-9648AC921B7F}">
      <dgm:prSet/>
      <dgm:spPr/>
      <dgm:t>
        <a:bodyPr/>
        <a:lstStyle/>
        <a:p>
          <a:endParaRPr lang="ru-RU"/>
        </a:p>
      </dgm:t>
    </dgm:pt>
    <dgm:pt modelId="{BF2EC0AA-E864-41C6-B5A6-FD8E10858102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СРЕДСТВА КОНТРОЛЯ</a:t>
          </a:r>
        </a:p>
      </dgm:t>
    </dgm:pt>
    <dgm:pt modelId="{5B11E3C6-5016-474C-A2EA-1048FF377D4B}" type="parTrans" cxnId="{098A8CA9-FDF8-4B51-BCB9-480BF004B724}">
      <dgm:prSet/>
      <dgm:spPr/>
      <dgm:t>
        <a:bodyPr/>
        <a:lstStyle/>
        <a:p>
          <a:endParaRPr lang="ru-RU"/>
        </a:p>
      </dgm:t>
    </dgm:pt>
    <dgm:pt modelId="{FC755DCB-528C-410D-B0CB-76950F021B72}" type="sibTrans" cxnId="{098A8CA9-FDF8-4B51-BCB9-480BF004B724}">
      <dgm:prSet/>
      <dgm:spPr/>
      <dgm:t>
        <a:bodyPr/>
        <a:lstStyle/>
        <a:p>
          <a:endParaRPr lang="ru-RU"/>
        </a:p>
      </dgm:t>
    </dgm:pt>
    <dgm:pt modelId="{68ADD120-F9E3-4CD5-A01D-D8D8C5A08F9D}">
      <dgm:prSet phldrT="[Текст]" custT="1"/>
      <dgm:spPr/>
      <dgm:t>
        <a:bodyPr/>
        <a:lstStyle/>
        <a:p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МЕХАНИЗМЫ</a:t>
          </a:r>
          <a:r>
            <a:rPr lang="ru-RU" sz="3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F9064C28-BF28-4472-B01A-0DCC58C7B788}" type="parTrans" cxnId="{8D4B2E96-D4DE-42EE-87DB-AD76DD2B4215}">
      <dgm:prSet/>
      <dgm:spPr/>
      <dgm:t>
        <a:bodyPr/>
        <a:lstStyle/>
        <a:p>
          <a:endParaRPr lang="ru-RU"/>
        </a:p>
      </dgm:t>
    </dgm:pt>
    <dgm:pt modelId="{19CE5889-F0C5-4521-8878-4BF8A9132A86}" type="sibTrans" cxnId="{8D4B2E96-D4DE-42EE-87DB-AD76DD2B4215}">
      <dgm:prSet/>
      <dgm:spPr/>
      <dgm:t>
        <a:bodyPr/>
        <a:lstStyle/>
        <a:p>
          <a:endParaRPr lang="ru-RU"/>
        </a:p>
      </dgm:t>
    </dgm:pt>
    <dgm:pt modelId="{8A458646-D593-4FD7-8913-3A328806FF79}" type="pres">
      <dgm:prSet presAssocID="{FF5FB912-90D9-429B-AAB6-F608354339C8}" presName="Name0" presStyleCnt="0">
        <dgm:presLayoutVars>
          <dgm:dir/>
        </dgm:presLayoutVars>
      </dgm:prSet>
      <dgm:spPr/>
      <dgm:t>
        <a:bodyPr/>
        <a:lstStyle/>
        <a:p>
          <a:endParaRPr lang="ru-RU"/>
        </a:p>
      </dgm:t>
    </dgm:pt>
    <dgm:pt modelId="{B10898B0-98D0-4CDD-95BF-89B244478AC6}" type="pres">
      <dgm:prSet presAssocID="{7BA4E9C8-BE4F-45B1-A47F-78BC8D9EFB96}" presName="picture_1" presStyleLbl="bgImgPlace1" presStyleIdx="0" presStyleCnt="1" custLinFactNeighborX="763" custLinFactNeighborY="14094"/>
      <dgm:spPr/>
      <dgm:t>
        <a:bodyPr/>
        <a:lstStyle/>
        <a:p>
          <a:endParaRPr lang="ru-RU"/>
        </a:p>
      </dgm:t>
    </dgm:pt>
    <dgm:pt modelId="{40171CAE-1ACA-4ED5-855D-A762734C3958}" type="pres">
      <dgm:prSet presAssocID="{2F4B4425-E276-42D4-855E-C3E20E390D1C}" presName="text_1" presStyleLbl="node1" presStyleIdx="0" presStyleCnt="0" custLinFactNeighborX="8354" custLinFactNeighborY="-79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75F9DDC-8C2D-489C-BC98-E81EBD2DFC3A}" type="pres">
      <dgm:prSet presAssocID="{FF5FB912-90D9-429B-AAB6-F608354339C8}" presName="linV" presStyleCnt="0"/>
      <dgm:spPr/>
    </dgm:pt>
    <dgm:pt modelId="{68110A33-35DC-4237-8850-4BA5027D49B0}" type="pres">
      <dgm:prSet presAssocID="{E1CB8621-B31A-4AB7-BC1C-484280C3D87D}" presName="pair" presStyleCnt="0"/>
      <dgm:spPr/>
    </dgm:pt>
    <dgm:pt modelId="{3D52AA22-3330-4676-8B36-9C941C03FC7D}" type="pres">
      <dgm:prSet presAssocID="{E1CB8621-B31A-4AB7-BC1C-484280C3D87D}" presName="spaceH" presStyleLbl="node1" presStyleIdx="0" presStyleCnt="0"/>
      <dgm:spPr/>
    </dgm:pt>
    <dgm:pt modelId="{5F4F73BE-768E-4C99-8DDD-671B95378262}" type="pres">
      <dgm:prSet presAssocID="{E1CB8621-B31A-4AB7-BC1C-484280C3D87D}" presName="desPictures" presStyleLbl="alignImgPlace1" presStyleIdx="0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F407454E-11D4-4E25-BB80-7D4B0936D494}" type="pres">
      <dgm:prSet presAssocID="{E1CB8621-B31A-4AB7-BC1C-484280C3D87D}" presName="desTextWrapper" presStyleCnt="0"/>
      <dgm:spPr/>
    </dgm:pt>
    <dgm:pt modelId="{8FBEE310-AC52-42C8-8060-9E77571CBC45}" type="pres">
      <dgm:prSet presAssocID="{E1CB8621-B31A-4AB7-BC1C-484280C3D87D}" presName="des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AE7AAB-E60A-4F55-A20C-18B7D71C4D71}" type="pres">
      <dgm:prSet presAssocID="{95A0047C-F2FB-4215-AF04-A94187BBDC15}" presName="spaceV" presStyleCnt="0"/>
      <dgm:spPr/>
    </dgm:pt>
    <dgm:pt modelId="{492B26F5-1844-41FC-B619-D58593742B70}" type="pres">
      <dgm:prSet presAssocID="{BF2EC0AA-E864-41C6-B5A6-FD8E10858102}" presName="pair" presStyleCnt="0"/>
      <dgm:spPr/>
    </dgm:pt>
    <dgm:pt modelId="{F4AED5F3-791A-4C86-A9B9-7FC53C0F5C6C}" type="pres">
      <dgm:prSet presAssocID="{BF2EC0AA-E864-41C6-B5A6-FD8E10858102}" presName="spaceH" presStyleLbl="node1" presStyleIdx="0" presStyleCnt="0"/>
      <dgm:spPr/>
    </dgm:pt>
    <dgm:pt modelId="{33B070B9-8B88-4E38-A010-A48E6E8CF204}" type="pres">
      <dgm:prSet presAssocID="{BF2EC0AA-E864-41C6-B5A6-FD8E10858102}" presName="desPictures" presStyleLbl="align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ru-RU"/>
        </a:p>
      </dgm:t>
    </dgm:pt>
    <dgm:pt modelId="{33115718-35CD-4228-96D4-5E5B9AF92566}" type="pres">
      <dgm:prSet presAssocID="{BF2EC0AA-E864-41C6-B5A6-FD8E10858102}" presName="desTextWrapper" presStyleCnt="0"/>
      <dgm:spPr/>
    </dgm:pt>
    <dgm:pt modelId="{AD092AEE-2BCA-4628-AE50-970BA783A45C}" type="pres">
      <dgm:prSet presAssocID="{BF2EC0AA-E864-41C6-B5A6-FD8E10858102}" presName="des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639858-464E-4EA3-B99B-AA41A8BE4114}" type="pres">
      <dgm:prSet presAssocID="{FC755DCB-528C-410D-B0CB-76950F021B72}" presName="spaceV" presStyleCnt="0"/>
      <dgm:spPr/>
    </dgm:pt>
    <dgm:pt modelId="{80E9BC26-79E2-45C8-9B5E-6E03F947623F}" type="pres">
      <dgm:prSet presAssocID="{68ADD120-F9E3-4CD5-A01D-D8D8C5A08F9D}" presName="pair" presStyleCnt="0"/>
      <dgm:spPr/>
    </dgm:pt>
    <dgm:pt modelId="{E9E064AA-84B1-4DB2-8527-5F91210D7DFD}" type="pres">
      <dgm:prSet presAssocID="{68ADD120-F9E3-4CD5-A01D-D8D8C5A08F9D}" presName="spaceH" presStyleLbl="node1" presStyleIdx="0" presStyleCnt="0"/>
      <dgm:spPr/>
    </dgm:pt>
    <dgm:pt modelId="{78629F67-9BD6-4A66-B5F0-B37300809A5D}" type="pres">
      <dgm:prSet presAssocID="{68ADD120-F9E3-4CD5-A01D-D8D8C5A08F9D}" presName="desPictures" presStyleLbl="alignImgPlace1" presStyleIdx="2" presStyleCnt="3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</dgm:pt>
    <dgm:pt modelId="{D33B5C5D-09E7-4497-81BD-21983FF8ADF7}" type="pres">
      <dgm:prSet presAssocID="{68ADD120-F9E3-4CD5-A01D-D8D8C5A08F9D}" presName="desTextWrapper" presStyleCnt="0"/>
      <dgm:spPr/>
    </dgm:pt>
    <dgm:pt modelId="{B7BFED5B-E379-4891-9D4F-B5327798FACD}" type="pres">
      <dgm:prSet presAssocID="{68ADD120-F9E3-4CD5-A01D-D8D8C5A08F9D}" presName="des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5905DF-46A0-4414-BB80-D6BC5252FB06}" type="pres">
      <dgm:prSet presAssocID="{FF5FB912-90D9-429B-AAB6-F608354339C8}" presName="maxNode" presStyleCnt="0"/>
      <dgm:spPr/>
    </dgm:pt>
    <dgm:pt modelId="{8D6A1AFC-E76B-4186-91F6-C52D63CAF827}" type="pres">
      <dgm:prSet presAssocID="{FF5FB912-90D9-429B-AAB6-F608354339C8}" presName="Name33" presStyleCnt="0"/>
      <dgm:spPr/>
    </dgm:pt>
  </dgm:ptLst>
  <dgm:cxnLst>
    <dgm:cxn modelId="{56A73E80-B087-4B59-9BAB-9AEFAE7B777B}" type="presOf" srcId="{7BA4E9C8-BE4F-45B1-A47F-78BC8D9EFB96}" destId="{B10898B0-98D0-4CDD-95BF-89B244478AC6}" srcOrd="0" destOrd="0" presId="urn:microsoft.com/office/officeart/2008/layout/AccentedPicture"/>
    <dgm:cxn modelId="{685900C3-3B83-42B0-B4BD-DBDCB617E2A6}" type="presOf" srcId="{BF2EC0AA-E864-41C6-B5A6-FD8E10858102}" destId="{AD092AEE-2BCA-4628-AE50-970BA783A45C}" srcOrd="0" destOrd="0" presId="urn:microsoft.com/office/officeart/2008/layout/AccentedPicture"/>
    <dgm:cxn modelId="{8D4B2E96-D4DE-42EE-87DB-AD76DD2B4215}" srcId="{FF5FB912-90D9-429B-AAB6-F608354339C8}" destId="{68ADD120-F9E3-4CD5-A01D-D8D8C5A08F9D}" srcOrd="3" destOrd="0" parTransId="{F9064C28-BF28-4472-B01A-0DCC58C7B788}" sibTransId="{19CE5889-F0C5-4521-8878-4BF8A9132A86}"/>
    <dgm:cxn modelId="{D8CA8962-0782-412B-AF24-D5C1C0A95332}" type="presOf" srcId="{E1CB8621-B31A-4AB7-BC1C-484280C3D87D}" destId="{8FBEE310-AC52-42C8-8060-9E77571CBC45}" srcOrd="0" destOrd="0" presId="urn:microsoft.com/office/officeart/2008/layout/AccentedPicture"/>
    <dgm:cxn modelId="{098A8CA9-FDF8-4B51-BCB9-480BF004B724}" srcId="{FF5FB912-90D9-429B-AAB6-F608354339C8}" destId="{BF2EC0AA-E864-41C6-B5A6-FD8E10858102}" srcOrd="2" destOrd="0" parTransId="{5B11E3C6-5016-474C-A2EA-1048FF377D4B}" sibTransId="{FC755DCB-528C-410D-B0CB-76950F021B72}"/>
    <dgm:cxn modelId="{5A72C954-C006-42FE-A1F4-9575951BAC9D}" type="presOf" srcId="{68ADD120-F9E3-4CD5-A01D-D8D8C5A08F9D}" destId="{B7BFED5B-E379-4891-9D4F-B5327798FACD}" srcOrd="0" destOrd="0" presId="urn:microsoft.com/office/officeart/2008/layout/AccentedPicture"/>
    <dgm:cxn modelId="{4B246A49-D69B-4FB3-935B-9648AC921B7F}" srcId="{FF5FB912-90D9-429B-AAB6-F608354339C8}" destId="{E1CB8621-B31A-4AB7-BC1C-484280C3D87D}" srcOrd="1" destOrd="0" parTransId="{FD2068B4-7D56-4474-8103-81CEC714E0C5}" sibTransId="{95A0047C-F2FB-4215-AF04-A94187BBDC15}"/>
    <dgm:cxn modelId="{F8DF5DD2-F331-4F53-A702-DBED771F0D92}" srcId="{FF5FB912-90D9-429B-AAB6-F608354339C8}" destId="{2F4B4425-E276-42D4-855E-C3E20E390D1C}" srcOrd="0" destOrd="0" parTransId="{FF4523A2-E037-4499-A98C-ED81148C2E40}" sibTransId="{7BA4E9C8-BE4F-45B1-A47F-78BC8D9EFB96}"/>
    <dgm:cxn modelId="{74059E8F-EE16-412C-B080-AAA2782DF50D}" type="presOf" srcId="{2F4B4425-E276-42D4-855E-C3E20E390D1C}" destId="{40171CAE-1ACA-4ED5-855D-A762734C3958}" srcOrd="0" destOrd="0" presId="urn:microsoft.com/office/officeart/2008/layout/AccentedPicture"/>
    <dgm:cxn modelId="{02F204E5-2904-4899-B1B7-792EFE374B10}" type="presOf" srcId="{FF5FB912-90D9-429B-AAB6-F608354339C8}" destId="{8A458646-D593-4FD7-8913-3A328806FF79}" srcOrd="0" destOrd="0" presId="urn:microsoft.com/office/officeart/2008/layout/AccentedPicture"/>
    <dgm:cxn modelId="{C270FE41-5EA1-48DC-A68C-70D59ECFFCC8}" type="presParOf" srcId="{8A458646-D593-4FD7-8913-3A328806FF79}" destId="{B10898B0-98D0-4CDD-95BF-89B244478AC6}" srcOrd="0" destOrd="0" presId="urn:microsoft.com/office/officeart/2008/layout/AccentedPicture"/>
    <dgm:cxn modelId="{F15CF4C8-AA4A-427F-BED4-ED5CE6D4C05A}" type="presParOf" srcId="{8A458646-D593-4FD7-8913-3A328806FF79}" destId="{40171CAE-1ACA-4ED5-855D-A762734C3958}" srcOrd="1" destOrd="0" presId="urn:microsoft.com/office/officeart/2008/layout/AccentedPicture"/>
    <dgm:cxn modelId="{3AC71FB1-B251-4F65-9E86-C6AAD84BA64F}" type="presParOf" srcId="{8A458646-D593-4FD7-8913-3A328806FF79}" destId="{475F9DDC-8C2D-489C-BC98-E81EBD2DFC3A}" srcOrd="2" destOrd="0" presId="urn:microsoft.com/office/officeart/2008/layout/AccentedPicture"/>
    <dgm:cxn modelId="{2AC58A38-5D4E-4E58-A927-6CC30BD37F65}" type="presParOf" srcId="{475F9DDC-8C2D-489C-BC98-E81EBD2DFC3A}" destId="{68110A33-35DC-4237-8850-4BA5027D49B0}" srcOrd="0" destOrd="0" presId="urn:microsoft.com/office/officeart/2008/layout/AccentedPicture"/>
    <dgm:cxn modelId="{9C066E61-41D2-4E3E-B62D-468ECCBE0A08}" type="presParOf" srcId="{68110A33-35DC-4237-8850-4BA5027D49B0}" destId="{3D52AA22-3330-4676-8B36-9C941C03FC7D}" srcOrd="0" destOrd="0" presId="urn:microsoft.com/office/officeart/2008/layout/AccentedPicture"/>
    <dgm:cxn modelId="{8F8A380B-AA7E-4599-ACEB-0E7D84FEFF30}" type="presParOf" srcId="{68110A33-35DC-4237-8850-4BA5027D49B0}" destId="{5F4F73BE-768E-4C99-8DDD-671B95378262}" srcOrd="1" destOrd="0" presId="urn:microsoft.com/office/officeart/2008/layout/AccentedPicture"/>
    <dgm:cxn modelId="{A75E8DA2-3492-41A3-A031-A7423C6ACB16}" type="presParOf" srcId="{68110A33-35DC-4237-8850-4BA5027D49B0}" destId="{F407454E-11D4-4E25-BB80-7D4B0936D494}" srcOrd="2" destOrd="0" presId="urn:microsoft.com/office/officeart/2008/layout/AccentedPicture"/>
    <dgm:cxn modelId="{D3120D2A-DF88-4242-B73E-6018634678AA}" type="presParOf" srcId="{F407454E-11D4-4E25-BB80-7D4B0936D494}" destId="{8FBEE310-AC52-42C8-8060-9E77571CBC45}" srcOrd="0" destOrd="0" presId="urn:microsoft.com/office/officeart/2008/layout/AccentedPicture"/>
    <dgm:cxn modelId="{EA91C8CC-BF50-4670-8EE5-B05CE2B84ADF}" type="presParOf" srcId="{475F9DDC-8C2D-489C-BC98-E81EBD2DFC3A}" destId="{EDAE7AAB-E60A-4F55-A20C-18B7D71C4D71}" srcOrd="1" destOrd="0" presId="urn:microsoft.com/office/officeart/2008/layout/AccentedPicture"/>
    <dgm:cxn modelId="{84C050FC-E4A2-4CB4-B369-6874201AFBF1}" type="presParOf" srcId="{475F9DDC-8C2D-489C-BC98-E81EBD2DFC3A}" destId="{492B26F5-1844-41FC-B619-D58593742B70}" srcOrd="2" destOrd="0" presId="urn:microsoft.com/office/officeart/2008/layout/AccentedPicture"/>
    <dgm:cxn modelId="{48C99D63-2C7F-4127-95B8-3B14E998B5B5}" type="presParOf" srcId="{492B26F5-1844-41FC-B619-D58593742B70}" destId="{F4AED5F3-791A-4C86-A9B9-7FC53C0F5C6C}" srcOrd="0" destOrd="0" presId="urn:microsoft.com/office/officeart/2008/layout/AccentedPicture"/>
    <dgm:cxn modelId="{F57AA8FB-D869-42BA-B7A4-D8643B2CA51E}" type="presParOf" srcId="{492B26F5-1844-41FC-B619-D58593742B70}" destId="{33B070B9-8B88-4E38-A010-A48E6E8CF204}" srcOrd="1" destOrd="0" presId="urn:microsoft.com/office/officeart/2008/layout/AccentedPicture"/>
    <dgm:cxn modelId="{6F65E51C-3709-4889-96B5-1F1B2059F513}" type="presParOf" srcId="{492B26F5-1844-41FC-B619-D58593742B70}" destId="{33115718-35CD-4228-96D4-5E5B9AF92566}" srcOrd="2" destOrd="0" presId="urn:microsoft.com/office/officeart/2008/layout/AccentedPicture"/>
    <dgm:cxn modelId="{C4B4CF51-4B55-4C56-8A94-BE1BF3F15B9F}" type="presParOf" srcId="{33115718-35CD-4228-96D4-5E5B9AF92566}" destId="{AD092AEE-2BCA-4628-AE50-970BA783A45C}" srcOrd="0" destOrd="0" presId="urn:microsoft.com/office/officeart/2008/layout/AccentedPicture"/>
    <dgm:cxn modelId="{76A23689-D7ED-4C5F-853E-FDF14F65DFF6}" type="presParOf" srcId="{475F9DDC-8C2D-489C-BC98-E81EBD2DFC3A}" destId="{3A639858-464E-4EA3-B99B-AA41A8BE4114}" srcOrd="3" destOrd="0" presId="urn:microsoft.com/office/officeart/2008/layout/AccentedPicture"/>
    <dgm:cxn modelId="{DF0B70A1-F2D5-4A6E-B4D6-34FA9AC72E32}" type="presParOf" srcId="{475F9DDC-8C2D-489C-BC98-E81EBD2DFC3A}" destId="{80E9BC26-79E2-45C8-9B5E-6E03F947623F}" srcOrd="4" destOrd="0" presId="urn:microsoft.com/office/officeart/2008/layout/AccentedPicture"/>
    <dgm:cxn modelId="{BD4AEDA1-41FD-4D41-89C4-DDFB9BBD56BF}" type="presParOf" srcId="{80E9BC26-79E2-45C8-9B5E-6E03F947623F}" destId="{E9E064AA-84B1-4DB2-8527-5F91210D7DFD}" srcOrd="0" destOrd="0" presId="urn:microsoft.com/office/officeart/2008/layout/AccentedPicture"/>
    <dgm:cxn modelId="{52A7D720-3D23-4806-83BE-5868E488B601}" type="presParOf" srcId="{80E9BC26-79E2-45C8-9B5E-6E03F947623F}" destId="{78629F67-9BD6-4A66-B5F0-B37300809A5D}" srcOrd="1" destOrd="0" presId="urn:microsoft.com/office/officeart/2008/layout/AccentedPicture"/>
    <dgm:cxn modelId="{4DD50C89-1967-42D6-AF3A-333DC9AED53A}" type="presParOf" srcId="{80E9BC26-79E2-45C8-9B5E-6E03F947623F}" destId="{D33B5C5D-09E7-4497-81BD-21983FF8ADF7}" srcOrd="2" destOrd="0" presId="urn:microsoft.com/office/officeart/2008/layout/AccentedPicture"/>
    <dgm:cxn modelId="{530A3705-FE5C-4E88-BBDA-3177018E4684}" type="presParOf" srcId="{D33B5C5D-09E7-4497-81BD-21983FF8ADF7}" destId="{B7BFED5B-E379-4891-9D4F-B5327798FACD}" srcOrd="0" destOrd="0" presId="urn:microsoft.com/office/officeart/2008/layout/AccentedPicture"/>
    <dgm:cxn modelId="{17F19011-D7AD-470B-B155-5E4AC4B3D4B4}" type="presParOf" srcId="{8A458646-D593-4FD7-8913-3A328806FF79}" destId="{F45905DF-46A0-4414-BB80-D6BC5252FB06}" srcOrd="3" destOrd="0" presId="urn:microsoft.com/office/officeart/2008/layout/AccentedPicture"/>
    <dgm:cxn modelId="{943653F6-0981-4946-AB96-C651663A3D39}" type="presParOf" srcId="{F45905DF-46A0-4414-BB80-D6BC5252FB06}" destId="{8D6A1AFC-E76B-4186-91F6-C52D63CAF827}" srcOrd="0" destOrd="0" presId="urn:microsoft.com/office/officeart/2008/layout/AccentedPicture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197066-079D-4FE2-AADF-19D7B2D8561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17FEDB-7FBA-44AC-A929-7DDFBEC93B17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НТРОЛЬ (АУДИТ)</a:t>
          </a:r>
          <a:endParaRPr lang="ru-RU" sz="2400" dirty="0"/>
        </a:p>
      </dgm:t>
    </dgm:pt>
    <dgm:pt modelId="{0C3B4643-4104-4624-B369-2C5669A807D9}" type="parTrans" cxnId="{2EADDBD8-F4D3-4D44-A08B-3F85B5F43FEA}">
      <dgm:prSet/>
      <dgm:spPr/>
      <dgm:t>
        <a:bodyPr/>
        <a:lstStyle/>
        <a:p>
          <a:endParaRPr lang="ru-RU"/>
        </a:p>
      </dgm:t>
    </dgm:pt>
    <dgm:pt modelId="{1027DE40-B3AE-4154-83A8-AFE74D795DF0}" type="sibTrans" cxnId="{2EADDBD8-F4D3-4D44-A08B-3F85B5F43FEA}">
      <dgm:prSet/>
      <dgm:spPr/>
      <dgm:t>
        <a:bodyPr/>
        <a:lstStyle/>
        <a:p>
          <a:endParaRPr lang="ru-RU"/>
        </a:p>
      </dgm:t>
    </dgm:pt>
    <dgm:pt modelId="{8393CB3E-A298-4258-94D2-766F4CC181CA}" type="asst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утренний аудит</a:t>
          </a:r>
        </a:p>
      </dgm:t>
    </dgm:pt>
    <dgm:pt modelId="{BE8580E1-5EE5-41E3-B326-1F6022F90179}" type="parTrans" cxnId="{F4EF7705-B4E9-47C6-9692-E94F84FAB82D}">
      <dgm:prSet/>
      <dgm:spPr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8EAB72FE-6842-4703-92F1-F51953343DB1}" type="sibTrans" cxnId="{F4EF7705-B4E9-47C6-9692-E94F84FAB82D}">
      <dgm:prSet/>
      <dgm:spPr/>
      <dgm:t>
        <a:bodyPr/>
        <a:lstStyle/>
        <a:p>
          <a:endParaRPr lang="ru-RU"/>
        </a:p>
      </dgm:t>
    </dgm:pt>
    <dgm:pt modelId="{64DB2214-9F42-4074-8E04-43733FC4C482}" type="asst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ешний аудит</a:t>
          </a:r>
        </a:p>
      </dgm:t>
    </dgm:pt>
    <dgm:pt modelId="{9008D2EB-B57A-43D8-A8F2-0750AAF1F9D6}" type="parTrans" cxnId="{06ED0338-A96B-4F52-915D-3F2D294E575E}">
      <dgm:prSet/>
      <dgm:spPr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F9393E26-899F-4235-9341-10861508E7AB}" type="sibTrans" cxnId="{06ED0338-A96B-4F52-915D-3F2D294E575E}">
      <dgm:prSet/>
      <dgm:spPr/>
      <dgm:t>
        <a:bodyPr/>
        <a:lstStyle/>
        <a:p>
          <a:endParaRPr lang="ru-RU"/>
        </a:p>
      </dgm:t>
    </dgm:pt>
    <dgm:pt modelId="{D30C8B87-BEFE-45A9-98AE-526EE286D3D5}" type="pres">
      <dgm:prSet presAssocID="{8A197066-079D-4FE2-AADF-19D7B2D8561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D10EF61-AC21-4CB9-9D34-BAB8ACF7A98D}" type="pres">
      <dgm:prSet presAssocID="{DA17FEDB-7FBA-44AC-A929-7DDFBEC93B17}" presName="hierRoot1" presStyleCnt="0">
        <dgm:presLayoutVars>
          <dgm:hierBranch val="init"/>
        </dgm:presLayoutVars>
      </dgm:prSet>
      <dgm:spPr/>
    </dgm:pt>
    <dgm:pt modelId="{D3DDB8B9-D6CB-464F-A8B3-26ADACB1410D}" type="pres">
      <dgm:prSet presAssocID="{DA17FEDB-7FBA-44AC-A929-7DDFBEC93B17}" presName="rootComposite1" presStyleCnt="0"/>
      <dgm:spPr/>
    </dgm:pt>
    <dgm:pt modelId="{1CEFE8DD-EB1F-48BD-B395-51A97E9B9915}" type="pres">
      <dgm:prSet presAssocID="{DA17FEDB-7FBA-44AC-A929-7DDFBEC93B17}" presName="rootText1" presStyleLbl="node0" presStyleIdx="0" presStyleCnt="1" custScaleX="83536" custScaleY="36815" custLinFactNeighborX="5745" custLinFactNeighborY="-392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44F06B9-B0B0-4B46-B4D2-E53F50BB2EC0}" type="pres">
      <dgm:prSet presAssocID="{DA17FEDB-7FBA-44AC-A929-7DDFBEC93B17}" presName="rootConnector1" presStyleLbl="node1" presStyleIdx="0" presStyleCnt="0"/>
      <dgm:spPr/>
      <dgm:t>
        <a:bodyPr/>
        <a:lstStyle/>
        <a:p>
          <a:endParaRPr lang="ru-RU"/>
        </a:p>
      </dgm:t>
    </dgm:pt>
    <dgm:pt modelId="{A35D65FC-3CBD-4BF0-BE2B-3EF6A706C918}" type="pres">
      <dgm:prSet presAssocID="{DA17FEDB-7FBA-44AC-A929-7DDFBEC93B17}" presName="hierChild2" presStyleCnt="0"/>
      <dgm:spPr/>
    </dgm:pt>
    <dgm:pt modelId="{CC29E76E-EDF5-4ACF-BFD8-36594BB5D09B}" type="pres">
      <dgm:prSet presAssocID="{DA17FEDB-7FBA-44AC-A929-7DDFBEC93B17}" presName="hierChild3" presStyleCnt="0"/>
      <dgm:spPr/>
    </dgm:pt>
    <dgm:pt modelId="{47BA336E-F5E0-442C-92C1-498627EB88F2}" type="pres">
      <dgm:prSet presAssocID="{BE8580E1-5EE5-41E3-B326-1F6022F90179}" presName="Name111" presStyleLbl="parChTrans1D2" presStyleIdx="0" presStyleCnt="2"/>
      <dgm:spPr/>
      <dgm:t>
        <a:bodyPr/>
        <a:lstStyle/>
        <a:p>
          <a:endParaRPr lang="ru-RU"/>
        </a:p>
      </dgm:t>
    </dgm:pt>
    <dgm:pt modelId="{D1495D3B-4D2B-43CB-BE6F-0970833E58E8}" type="pres">
      <dgm:prSet presAssocID="{8393CB3E-A298-4258-94D2-766F4CC181CA}" presName="hierRoot3" presStyleCnt="0">
        <dgm:presLayoutVars>
          <dgm:hierBranch val="init"/>
        </dgm:presLayoutVars>
      </dgm:prSet>
      <dgm:spPr/>
    </dgm:pt>
    <dgm:pt modelId="{51B159C5-A2AE-4630-8F1C-141B2C6A1F42}" type="pres">
      <dgm:prSet presAssocID="{8393CB3E-A298-4258-94D2-766F4CC181CA}" presName="rootComposite3" presStyleCnt="0"/>
      <dgm:spPr/>
    </dgm:pt>
    <dgm:pt modelId="{9313C185-F68B-4D1D-8FB4-C46CF54CCB8E}" type="pres">
      <dgm:prSet presAssocID="{8393CB3E-A298-4258-94D2-766F4CC181CA}" presName="rootText3" presStyleLbl="asst1" presStyleIdx="0" presStyleCnt="2" custScaleX="58273" custScaleY="43202" custLinFactNeighborX="-11339" custLinFactNeighborY="-6094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E43020B-93B5-4C88-AA35-AE2F31957B58}" type="pres">
      <dgm:prSet presAssocID="{8393CB3E-A298-4258-94D2-766F4CC181CA}" presName="rootConnector3" presStyleLbl="asst1" presStyleIdx="0" presStyleCnt="2"/>
      <dgm:spPr/>
      <dgm:t>
        <a:bodyPr/>
        <a:lstStyle/>
        <a:p>
          <a:endParaRPr lang="ru-RU"/>
        </a:p>
      </dgm:t>
    </dgm:pt>
    <dgm:pt modelId="{9B17BF98-659C-46C7-B80D-0812D8EE4988}" type="pres">
      <dgm:prSet presAssocID="{8393CB3E-A298-4258-94D2-766F4CC181CA}" presName="hierChild6" presStyleCnt="0"/>
      <dgm:spPr/>
    </dgm:pt>
    <dgm:pt modelId="{181DE42B-AA62-494A-A6CF-D7335C1B6E0E}" type="pres">
      <dgm:prSet presAssocID="{8393CB3E-A298-4258-94D2-766F4CC181CA}" presName="hierChild7" presStyleCnt="0"/>
      <dgm:spPr/>
    </dgm:pt>
    <dgm:pt modelId="{EE6FCFC3-A8A6-4FD2-BA00-B29D77B781CC}" type="pres">
      <dgm:prSet presAssocID="{9008D2EB-B57A-43D8-A8F2-0750AAF1F9D6}" presName="Name111" presStyleLbl="parChTrans1D2" presStyleIdx="1" presStyleCnt="2"/>
      <dgm:spPr/>
      <dgm:t>
        <a:bodyPr/>
        <a:lstStyle/>
        <a:p>
          <a:endParaRPr lang="ru-RU"/>
        </a:p>
      </dgm:t>
    </dgm:pt>
    <dgm:pt modelId="{C9749ECA-0212-4E43-B8B9-DAF0746BD441}" type="pres">
      <dgm:prSet presAssocID="{64DB2214-9F42-4074-8E04-43733FC4C482}" presName="hierRoot3" presStyleCnt="0">
        <dgm:presLayoutVars>
          <dgm:hierBranch val="init"/>
        </dgm:presLayoutVars>
      </dgm:prSet>
      <dgm:spPr/>
    </dgm:pt>
    <dgm:pt modelId="{BD48252C-79F8-41BB-9359-C816E8F2A015}" type="pres">
      <dgm:prSet presAssocID="{64DB2214-9F42-4074-8E04-43733FC4C482}" presName="rootComposite3" presStyleCnt="0"/>
      <dgm:spPr/>
    </dgm:pt>
    <dgm:pt modelId="{89F39492-A987-4277-81BE-7C8048A3E00D}" type="pres">
      <dgm:prSet presAssocID="{64DB2214-9F42-4074-8E04-43733FC4C482}" presName="rootText3" presStyleLbl="asst1" presStyleIdx="1" presStyleCnt="2" custScaleX="55400" custScaleY="39987" custLinFactNeighborX="-1769" custLinFactNeighborY="-6096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808E4BD-9C0E-4AA8-B8C6-AF75A0A95678}" type="pres">
      <dgm:prSet presAssocID="{64DB2214-9F42-4074-8E04-43733FC4C482}" presName="rootConnector3" presStyleLbl="asst1" presStyleIdx="1" presStyleCnt="2"/>
      <dgm:spPr/>
      <dgm:t>
        <a:bodyPr/>
        <a:lstStyle/>
        <a:p>
          <a:endParaRPr lang="ru-RU"/>
        </a:p>
      </dgm:t>
    </dgm:pt>
    <dgm:pt modelId="{3BEC0C0A-5704-4950-BEA7-DE0FE5676FBD}" type="pres">
      <dgm:prSet presAssocID="{64DB2214-9F42-4074-8E04-43733FC4C482}" presName="hierChild6" presStyleCnt="0"/>
      <dgm:spPr/>
    </dgm:pt>
    <dgm:pt modelId="{C5C54C4E-1754-458B-BAB2-8289A2D84249}" type="pres">
      <dgm:prSet presAssocID="{64DB2214-9F42-4074-8E04-43733FC4C482}" presName="hierChild7" presStyleCnt="0"/>
      <dgm:spPr/>
    </dgm:pt>
  </dgm:ptLst>
  <dgm:cxnLst>
    <dgm:cxn modelId="{06ED0338-A96B-4F52-915D-3F2D294E575E}" srcId="{DA17FEDB-7FBA-44AC-A929-7DDFBEC93B17}" destId="{64DB2214-9F42-4074-8E04-43733FC4C482}" srcOrd="1" destOrd="0" parTransId="{9008D2EB-B57A-43D8-A8F2-0750AAF1F9D6}" sibTransId="{F9393E26-899F-4235-9341-10861508E7AB}"/>
    <dgm:cxn modelId="{E6AAC02F-4D14-462C-9A71-93BBE7431DD0}" type="presOf" srcId="{64DB2214-9F42-4074-8E04-43733FC4C482}" destId="{D808E4BD-9C0E-4AA8-B8C6-AF75A0A95678}" srcOrd="1" destOrd="0" presId="urn:microsoft.com/office/officeart/2005/8/layout/orgChart1"/>
    <dgm:cxn modelId="{3E56AED4-F02C-4CEA-A123-CCE4FB2F9295}" type="presOf" srcId="{BE8580E1-5EE5-41E3-B326-1F6022F90179}" destId="{47BA336E-F5E0-442C-92C1-498627EB88F2}" srcOrd="0" destOrd="0" presId="urn:microsoft.com/office/officeart/2005/8/layout/orgChart1"/>
    <dgm:cxn modelId="{05B816DD-37D1-494E-A1B6-9406BDE29483}" type="presOf" srcId="{8393CB3E-A298-4258-94D2-766F4CC181CA}" destId="{FE43020B-93B5-4C88-AA35-AE2F31957B58}" srcOrd="1" destOrd="0" presId="urn:microsoft.com/office/officeart/2005/8/layout/orgChart1"/>
    <dgm:cxn modelId="{2EADDBD8-F4D3-4D44-A08B-3F85B5F43FEA}" srcId="{8A197066-079D-4FE2-AADF-19D7B2D85615}" destId="{DA17FEDB-7FBA-44AC-A929-7DDFBEC93B17}" srcOrd="0" destOrd="0" parTransId="{0C3B4643-4104-4624-B369-2C5669A807D9}" sibTransId="{1027DE40-B3AE-4154-83A8-AFE74D795DF0}"/>
    <dgm:cxn modelId="{F4EF7705-B4E9-47C6-9692-E94F84FAB82D}" srcId="{DA17FEDB-7FBA-44AC-A929-7DDFBEC93B17}" destId="{8393CB3E-A298-4258-94D2-766F4CC181CA}" srcOrd="0" destOrd="0" parTransId="{BE8580E1-5EE5-41E3-B326-1F6022F90179}" sibTransId="{8EAB72FE-6842-4703-92F1-F51953343DB1}"/>
    <dgm:cxn modelId="{5E3A8099-B9C4-4ED0-BF59-45E7E42612B0}" type="presOf" srcId="{DA17FEDB-7FBA-44AC-A929-7DDFBEC93B17}" destId="{B44F06B9-B0B0-4B46-B4D2-E53F50BB2EC0}" srcOrd="1" destOrd="0" presId="urn:microsoft.com/office/officeart/2005/8/layout/orgChart1"/>
    <dgm:cxn modelId="{6A9B3ED2-DB1C-4672-BD66-DAAF5800B20D}" type="presOf" srcId="{8A197066-079D-4FE2-AADF-19D7B2D85615}" destId="{D30C8B87-BEFE-45A9-98AE-526EE286D3D5}" srcOrd="0" destOrd="0" presId="urn:microsoft.com/office/officeart/2005/8/layout/orgChart1"/>
    <dgm:cxn modelId="{7E5EBFE3-BE30-44B5-B6A4-73A1205906AC}" type="presOf" srcId="{8393CB3E-A298-4258-94D2-766F4CC181CA}" destId="{9313C185-F68B-4D1D-8FB4-C46CF54CCB8E}" srcOrd="0" destOrd="0" presId="urn:microsoft.com/office/officeart/2005/8/layout/orgChart1"/>
    <dgm:cxn modelId="{66F0B858-CF00-41BE-9F45-B4471FEE1AAB}" type="presOf" srcId="{DA17FEDB-7FBA-44AC-A929-7DDFBEC93B17}" destId="{1CEFE8DD-EB1F-48BD-B395-51A97E9B9915}" srcOrd="0" destOrd="0" presId="urn:microsoft.com/office/officeart/2005/8/layout/orgChart1"/>
    <dgm:cxn modelId="{E07F6466-83A7-46F2-A7C6-5AC708D90F65}" type="presOf" srcId="{9008D2EB-B57A-43D8-A8F2-0750AAF1F9D6}" destId="{EE6FCFC3-A8A6-4FD2-BA00-B29D77B781CC}" srcOrd="0" destOrd="0" presId="urn:microsoft.com/office/officeart/2005/8/layout/orgChart1"/>
    <dgm:cxn modelId="{BFCAD877-6D74-4B8B-BC75-48D63474733E}" type="presOf" srcId="{64DB2214-9F42-4074-8E04-43733FC4C482}" destId="{89F39492-A987-4277-81BE-7C8048A3E00D}" srcOrd="0" destOrd="0" presId="urn:microsoft.com/office/officeart/2005/8/layout/orgChart1"/>
    <dgm:cxn modelId="{CC2FCCBD-A34E-4B18-97A2-4FE339652BAA}" type="presParOf" srcId="{D30C8B87-BEFE-45A9-98AE-526EE286D3D5}" destId="{BD10EF61-AC21-4CB9-9D34-BAB8ACF7A98D}" srcOrd="0" destOrd="0" presId="urn:microsoft.com/office/officeart/2005/8/layout/orgChart1"/>
    <dgm:cxn modelId="{19746745-9F32-469B-8FA5-18D3D2C3800D}" type="presParOf" srcId="{BD10EF61-AC21-4CB9-9D34-BAB8ACF7A98D}" destId="{D3DDB8B9-D6CB-464F-A8B3-26ADACB1410D}" srcOrd="0" destOrd="0" presId="urn:microsoft.com/office/officeart/2005/8/layout/orgChart1"/>
    <dgm:cxn modelId="{267B5892-1A03-41F6-BA6F-4B0E0F320FA7}" type="presParOf" srcId="{D3DDB8B9-D6CB-464F-A8B3-26ADACB1410D}" destId="{1CEFE8DD-EB1F-48BD-B395-51A97E9B9915}" srcOrd="0" destOrd="0" presId="urn:microsoft.com/office/officeart/2005/8/layout/orgChart1"/>
    <dgm:cxn modelId="{34E8D97E-2B3D-4832-B542-41B16508BB92}" type="presParOf" srcId="{D3DDB8B9-D6CB-464F-A8B3-26ADACB1410D}" destId="{B44F06B9-B0B0-4B46-B4D2-E53F50BB2EC0}" srcOrd="1" destOrd="0" presId="urn:microsoft.com/office/officeart/2005/8/layout/orgChart1"/>
    <dgm:cxn modelId="{D3DCA508-7821-4C65-97EA-C8215DC0523F}" type="presParOf" srcId="{BD10EF61-AC21-4CB9-9D34-BAB8ACF7A98D}" destId="{A35D65FC-3CBD-4BF0-BE2B-3EF6A706C918}" srcOrd="1" destOrd="0" presId="urn:microsoft.com/office/officeart/2005/8/layout/orgChart1"/>
    <dgm:cxn modelId="{06C9F959-4BF5-4C33-86E8-2C2D3ECB7B38}" type="presParOf" srcId="{BD10EF61-AC21-4CB9-9D34-BAB8ACF7A98D}" destId="{CC29E76E-EDF5-4ACF-BFD8-36594BB5D09B}" srcOrd="2" destOrd="0" presId="urn:microsoft.com/office/officeart/2005/8/layout/orgChart1"/>
    <dgm:cxn modelId="{45A1D9D1-CC24-4F26-942F-6F5A27BF113B}" type="presParOf" srcId="{CC29E76E-EDF5-4ACF-BFD8-36594BB5D09B}" destId="{47BA336E-F5E0-442C-92C1-498627EB88F2}" srcOrd="0" destOrd="0" presId="urn:microsoft.com/office/officeart/2005/8/layout/orgChart1"/>
    <dgm:cxn modelId="{94D45628-3D9A-4553-88B7-62F12D94E196}" type="presParOf" srcId="{CC29E76E-EDF5-4ACF-BFD8-36594BB5D09B}" destId="{D1495D3B-4D2B-43CB-BE6F-0970833E58E8}" srcOrd="1" destOrd="0" presId="urn:microsoft.com/office/officeart/2005/8/layout/orgChart1"/>
    <dgm:cxn modelId="{FB4638FB-A814-4A0F-9A51-DD82B5D6D516}" type="presParOf" srcId="{D1495D3B-4D2B-43CB-BE6F-0970833E58E8}" destId="{51B159C5-A2AE-4630-8F1C-141B2C6A1F42}" srcOrd="0" destOrd="0" presId="urn:microsoft.com/office/officeart/2005/8/layout/orgChart1"/>
    <dgm:cxn modelId="{50FFE074-3B97-4866-A617-D206DF283D9F}" type="presParOf" srcId="{51B159C5-A2AE-4630-8F1C-141B2C6A1F42}" destId="{9313C185-F68B-4D1D-8FB4-C46CF54CCB8E}" srcOrd="0" destOrd="0" presId="urn:microsoft.com/office/officeart/2005/8/layout/orgChart1"/>
    <dgm:cxn modelId="{8CC6DAF9-4B2A-4C7C-A1F6-1D8222F9026D}" type="presParOf" srcId="{51B159C5-A2AE-4630-8F1C-141B2C6A1F42}" destId="{FE43020B-93B5-4C88-AA35-AE2F31957B58}" srcOrd="1" destOrd="0" presId="urn:microsoft.com/office/officeart/2005/8/layout/orgChart1"/>
    <dgm:cxn modelId="{1BA43D4B-6890-4F00-B665-24859D053CCA}" type="presParOf" srcId="{D1495D3B-4D2B-43CB-BE6F-0970833E58E8}" destId="{9B17BF98-659C-46C7-B80D-0812D8EE4988}" srcOrd="1" destOrd="0" presId="urn:microsoft.com/office/officeart/2005/8/layout/orgChart1"/>
    <dgm:cxn modelId="{0E6D7F05-2CA6-4BE9-BADF-6D8F5BF49717}" type="presParOf" srcId="{D1495D3B-4D2B-43CB-BE6F-0970833E58E8}" destId="{181DE42B-AA62-494A-A6CF-D7335C1B6E0E}" srcOrd="2" destOrd="0" presId="urn:microsoft.com/office/officeart/2005/8/layout/orgChart1"/>
    <dgm:cxn modelId="{C9EEDB37-BAAF-4361-A686-1F829857FCB1}" type="presParOf" srcId="{CC29E76E-EDF5-4ACF-BFD8-36594BB5D09B}" destId="{EE6FCFC3-A8A6-4FD2-BA00-B29D77B781CC}" srcOrd="2" destOrd="0" presId="urn:microsoft.com/office/officeart/2005/8/layout/orgChart1"/>
    <dgm:cxn modelId="{39F20D2C-C25A-41AE-AC98-0BE83AB105FB}" type="presParOf" srcId="{CC29E76E-EDF5-4ACF-BFD8-36594BB5D09B}" destId="{C9749ECA-0212-4E43-B8B9-DAF0746BD441}" srcOrd="3" destOrd="0" presId="urn:microsoft.com/office/officeart/2005/8/layout/orgChart1"/>
    <dgm:cxn modelId="{160BF9A4-1B06-4581-97A6-A9B6F8E55876}" type="presParOf" srcId="{C9749ECA-0212-4E43-B8B9-DAF0746BD441}" destId="{BD48252C-79F8-41BB-9359-C816E8F2A015}" srcOrd="0" destOrd="0" presId="urn:microsoft.com/office/officeart/2005/8/layout/orgChart1"/>
    <dgm:cxn modelId="{F03ECE30-941C-4594-9FB8-6EB124887C23}" type="presParOf" srcId="{BD48252C-79F8-41BB-9359-C816E8F2A015}" destId="{89F39492-A987-4277-81BE-7C8048A3E00D}" srcOrd="0" destOrd="0" presId="urn:microsoft.com/office/officeart/2005/8/layout/orgChart1"/>
    <dgm:cxn modelId="{73C1F66A-DBF7-466B-8E3B-AD4511474345}" type="presParOf" srcId="{BD48252C-79F8-41BB-9359-C816E8F2A015}" destId="{D808E4BD-9C0E-4AA8-B8C6-AF75A0A95678}" srcOrd="1" destOrd="0" presId="urn:microsoft.com/office/officeart/2005/8/layout/orgChart1"/>
    <dgm:cxn modelId="{AE7D5482-E052-44C4-B678-941D23E6054F}" type="presParOf" srcId="{C9749ECA-0212-4E43-B8B9-DAF0746BD441}" destId="{3BEC0C0A-5704-4950-BEA7-DE0FE5676FBD}" srcOrd="1" destOrd="0" presId="urn:microsoft.com/office/officeart/2005/8/layout/orgChart1"/>
    <dgm:cxn modelId="{44239DC6-2A37-424C-8931-89968D637E07}" type="presParOf" srcId="{C9749ECA-0212-4E43-B8B9-DAF0746BD441}" destId="{C5C54C4E-1754-458B-BAB2-8289A2D84249}" srcOrd="2" destOrd="0" presId="urn:microsoft.com/office/officeart/2005/8/layout/orgChar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A77F774-01FE-4AD0-8249-E6C1DEECFCB2}" type="doc">
      <dgm:prSet loTypeId="urn:microsoft.com/office/officeart/2008/layout/AscendingPictureAccentProcess" loCatId="pictur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4B4A6D1-A154-4E7F-B508-BBD3E618E567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НАНИЯ И НАВЫКИ ПО РУКОВОДСТВУ АУДИТОМ</a:t>
          </a:r>
        </a:p>
      </dgm:t>
    </dgm:pt>
    <dgm:pt modelId="{F91C0797-5D3C-41CB-AA0D-4359DBB7CDBE}" type="parTrans" cxnId="{83FE5907-3FD8-4192-A27A-A8797A190854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D4E666-4712-41A2-B8C0-472762AE49A5}" type="sibTrans" cxnId="{83FE5907-3FD8-4192-A27A-A8797A190854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8AFFBD-10C3-4DF2-B26F-51645C005B0E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УРОВЕНЬ И СПЕЦИФИКА ОБРАЗОВАНИЯ</a:t>
          </a:r>
        </a:p>
      </dgm:t>
    </dgm:pt>
    <dgm:pt modelId="{3FA6B8EA-D861-4117-B601-FED419D2FCC9}" type="parTrans" cxnId="{8DECD928-248D-4E98-84A5-002B4C1E3373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0D5555-D766-4B5B-89DA-67B42CC1FAFF}" type="sibTrans" cxnId="{8DECD928-248D-4E98-84A5-002B4C1E3373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96DDB0-BF3B-4A95-9E99-004FA77DED20}">
      <dgm:prSet phldrT="[Текст]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rgbClr val="E9EFF7"/>
        </a:solidFill>
        <a:ln>
          <a:solidFill>
            <a:srgbClr val="00206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ЛИЧНЫЕ КАЧЕСТВА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FDFF57-334B-49D2-9338-980E1E3E3C9D}" type="parTrans" cxnId="{5C31B529-8723-4938-B168-8ED3FAC70ADE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0F5EFF-43FA-409D-AB50-BE412E1E4873}" type="sibTrans" cxnId="{5C31B529-8723-4938-B168-8ED3FAC70ADE}">
      <dgm:prSet/>
      <dgm:spPr/>
      <dgm:t>
        <a:bodyPr/>
        <a:lstStyle/>
        <a:p>
          <a:endParaRPr lang="ru-RU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D46F368-79B6-4A08-AC85-8419BCDB987E}" type="pres">
      <dgm:prSet presAssocID="{9A77F774-01FE-4AD0-8249-E6C1DEECFCB2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094E6E2C-62F5-47AE-81DF-A1F881B1782C}" type="pres">
      <dgm:prSet presAssocID="{9A77F774-01FE-4AD0-8249-E6C1DEECFCB2}" presName="dot1" presStyleLbl="alignNode1" presStyleIdx="0" presStyleCnt="12"/>
      <dgm:spPr/>
    </dgm:pt>
    <dgm:pt modelId="{C3D6486D-3B22-4D86-86B5-9672BBF352D8}" type="pres">
      <dgm:prSet presAssocID="{9A77F774-01FE-4AD0-8249-E6C1DEECFCB2}" presName="dot2" presStyleLbl="alignNode1" presStyleIdx="1" presStyleCnt="12"/>
      <dgm:spPr/>
    </dgm:pt>
    <dgm:pt modelId="{9585C7F6-DA89-42E0-AD07-526D82DDE393}" type="pres">
      <dgm:prSet presAssocID="{9A77F774-01FE-4AD0-8249-E6C1DEECFCB2}" presName="dot3" presStyleLbl="alignNode1" presStyleIdx="2" presStyleCnt="12"/>
      <dgm:spPr/>
    </dgm:pt>
    <dgm:pt modelId="{6D087FC3-E4E8-4366-9A75-B9DC73FD1DF6}" type="pres">
      <dgm:prSet presAssocID="{9A77F774-01FE-4AD0-8249-E6C1DEECFCB2}" presName="dot4" presStyleLbl="alignNode1" presStyleIdx="3" presStyleCnt="12"/>
      <dgm:spPr/>
    </dgm:pt>
    <dgm:pt modelId="{82ED9154-2EB1-4ABC-9308-C33DD6412C75}" type="pres">
      <dgm:prSet presAssocID="{9A77F774-01FE-4AD0-8249-E6C1DEECFCB2}" presName="dot5" presStyleLbl="alignNode1" presStyleIdx="4" presStyleCnt="12"/>
      <dgm:spPr/>
    </dgm:pt>
    <dgm:pt modelId="{B3BCB230-B45D-44D0-B3ED-4FB33D05CCAB}" type="pres">
      <dgm:prSet presAssocID="{9A77F774-01FE-4AD0-8249-E6C1DEECFCB2}" presName="dotArrow1" presStyleLbl="alignNode1" presStyleIdx="5" presStyleCnt="12"/>
      <dgm:spPr/>
    </dgm:pt>
    <dgm:pt modelId="{DCE2A6D1-2F73-4D0A-9B0D-054A9F3EFBC9}" type="pres">
      <dgm:prSet presAssocID="{9A77F774-01FE-4AD0-8249-E6C1DEECFCB2}" presName="dotArrow2" presStyleLbl="alignNode1" presStyleIdx="6" presStyleCnt="12"/>
      <dgm:spPr/>
    </dgm:pt>
    <dgm:pt modelId="{C95FF3B1-160E-4B17-8B6A-186E92016483}" type="pres">
      <dgm:prSet presAssocID="{9A77F774-01FE-4AD0-8249-E6C1DEECFCB2}" presName="dotArrow3" presStyleLbl="alignNode1" presStyleIdx="7" presStyleCnt="12"/>
      <dgm:spPr/>
    </dgm:pt>
    <dgm:pt modelId="{EF526CF0-4CE9-4CA5-A686-CD26F62604B6}" type="pres">
      <dgm:prSet presAssocID="{9A77F774-01FE-4AD0-8249-E6C1DEECFCB2}" presName="dotArrow4" presStyleLbl="alignNode1" presStyleIdx="8" presStyleCnt="12"/>
      <dgm:spPr/>
    </dgm:pt>
    <dgm:pt modelId="{F04BCDC5-FD95-4DBF-B975-5953D2FDF4C2}" type="pres">
      <dgm:prSet presAssocID="{9A77F774-01FE-4AD0-8249-E6C1DEECFCB2}" presName="dotArrow5" presStyleLbl="alignNode1" presStyleIdx="9" presStyleCnt="12"/>
      <dgm:spPr/>
    </dgm:pt>
    <dgm:pt modelId="{E0AFFDC4-A7EC-424A-8DB5-BE74047EF0B0}" type="pres">
      <dgm:prSet presAssocID="{9A77F774-01FE-4AD0-8249-E6C1DEECFCB2}" presName="dotArrow6" presStyleLbl="alignNode1" presStyleIdx="10" presStyleCnt="12"/>
      <dgm:spPr/>
    </dgm:pt>
    <dgm:pt modelId="{A32867C9-CEE0-4D7B-9A4A-263AF574E164}" type="pres">
      <dgm:prSet presAssocID="{9A77F774-01FE-4AD0-8249-E6C1DEECFCB2}" presName="dotArrow7" presStyleLbl="alignNode1" presStyleIdx="11" presStyleCnt="12"/>
      <dgm:spPr/>
    </dgm:pt>
    <dgm:pt modelId="{76F015D7-DF7C-4C48-ACCF-B64B9E2320F8}" type="pres">
      <dgm:prSet presAssocID="{04B4A6D1-A154-4E7F-B508-BBD3E618E567}" presName="parTx1" presStyleLbl="node1" presStyleIdx="0" presStyleCnt="3"/>
      <dgm:spPr/>
      <dgm:t>
        <a:bodyPr/>
        <a:lstStyle/>
        <a:p>
          <a:endParaRPr lang="ru-RU"/>
        </a:p>
      </dgm:t>
    </dgm:pt>
    <dgm:pt modelId="{1057D6C3-CE73-4C3F-8669-34058337326D}" type="pres">
      <dgm:prSet presAssocID="{79D4E666-4712-41A2-B8C0-472762AE49A5}" presName="picture1" presStyleCnt="0"/>
      <dgm:spPr/>
    </dgm:pt>
    <dgm:pt modelId="{5C854E40-201B-48CE-8F50-F530E4090928}" type="pres">
      <dgm:prSet presAssocID="{79D4E666-4712-41A2-B8C0-472762AE49A5}" presName="imageRepeatNode" presStyleLbl="fgImgPlace1" presStyleIdx="0" presStyleCnt="3" custLinFactNeighborX="6534" custLinFactNeighborY="-2853"/>
      <dgm:spPr/>
      <dgm:t>
        <a:bodyPr/>
        <a:lstStyle/>
        <a:p>
          <a:endParaRPr lang="ru-RU"/>
        </a:p>
      </dgm:t>
    </dgm:pt>
    <dgm:pt modelId="{84229303-A497-4F47-8CF4-80409B1B57D0}" type="pres">
      <dgm:prSet presAssocID="{658AFFBD-10C3-4DF2-B26F-51645C005B0E}" presName="parTx2" presStyleLbl="node1" presStyleIdx="1" presStyleCnt="3"/>
      <dgm:spPr/>
      <dgm:t>
        <a:bodyPr/>
        <a:lstStyle/>
        <a:p>
          <a:endParaRPr lang="ru-RU"/>
        </a:p>
      </dgm:t>
    </dgm:pt>
    <dgm:pt modelId="{69F50CAC-84C5-4265-A7CB-5F873A5921D1}" type="pres">
      <dgm:prSet presAssocID="{990D5555-D766-4B5B-89DA-67B42CC1FAFF}" presName="picture2" presStyleCnt="0"/>
      <dgm:spPr/>
    </dgm:pt>
    <dgm:pt modelId="{41EC88DE-0BE4-42D4-96CC-B774EACC4567}" type="pres">
      <dgm:prSet presAssocID="{990D5555-D766-4B5B-89DA-67B42CC1FAFF}" presName="imageRepeatNode" presStyleLbl="fgImgPlace1" presStyleIdx="1" presStyleCnt="3"/>
      <dgm:spPr/>
      <dgm:t>
        <a:bodyPr/>
        <a:lstStyle/>
        <a:p>
          <a:endParaRPr lang="ru-RU"/>
        </a:p>
      </dgm:t>
    </dgm:pt>
    <dgm:pt modelId="{7DD1A38B-2F50-4F1C-82BC-E3AD1A1839A4}" type="pres">
      <dgm:prSet presAssocID="{1F96DDB0-BF3B-4A95-9E99-004FA77DED20}" presName="parTx3" presStyleLbl="node1" presStyleIdx="2" presStyleCnt="3"/>
      <dgm:spPr/>
      <dgm:t>
        <a:bodyPr/>
        <a:lstStyle/>
        <a:p>
          <a:endParaRPr lang="ru-RU"/>
        </a:p>
      </dgm:t>
    </dgm:pt>
    <dgm:pt modelId="{F1E4CC3A-C0CF-41C5-AF85-E9C50F2C367C}" type="pres">
      <dgm:prSet presAssocID="{190F5EFF-43FA-409D-AB50-BE412E1E4873}" presName="picture3" presStyleCnt="0"/>
      <dgm:spPr/>
    </dgm:pt>
    <dgm:pt modelId="{9CF3ADE2-9CB5-46F9-B402-AEBA0793F782}" type="pres">
      <dgm:prSet presAssocID="{190F5EFF-43FA-409D-AB50-BE412E1E4873}" presName="imageRepeatNode" presStyleLbl="fgImgPlace1" presStyleIdx="2" presStyleCnt="3"/>
      <dgm:spPr/>
      <dgm:t>
        <a:bodyPr/>
        <a:lstStyle/>
        <a:p>
          <a:endParaRPr lang="ru-RU"/>
        </a:p>
      </dgm:t>
    </dgm:pt>
  </dgm:ptLst>
  <dgm:cxnLst>
    <dgm:cxn modelId="{CB67E529-54FE-4634-A10E-2FFA8CF25573}" type="presOf" srcId="{79D4E666-4712-41A2-B8C0-472762AE49A5}" destId="{5C854E40-201B-48CE-8F50-F530E4090928}" srcOrd="0" destOrd="0" presId="urn:microsoft.com/office/officeart/2008/layout/AscendingPictureAccentProcess"/>
    <dgm:cxn modelId="{D7013776-B2CA-45D5-BAD0-223CF8815E51}" type="presOf" srcId="{9A77F774-01FE-4AD0-8249-E6C1DEECFCB2}" destId="{BD46F368-79B6-4A08-AC85-8419BCDB987E}" srcOrd="0" destOrd="0" presId="urn:microsoft.com/office/officeart/2008/layout/AscendingPictureAccentProcess"/>
    <dgm:cxn modelId="{8DECD928-248D-4E98-84A5-002B4C1E3373}" srcId="{9A77F774-01FE-4AD0-8249-E6C1DEECFCB2}" destId="{658AFFBD-10C3-4DF2-B26F-51645C005B0E}" srcOrd="1" destOrd="0" parTransId="{3FA6B8EA-D861-4117-B601-FED419D2FCC9}" sibTransId="{990D5555-D766-4B5B-89DA-67B42CC1FAFF}"/>
    <dgm:cxn modelId="{2FB12AE5-112F-41A5-A77B-896A415C86CF}" type="presOf" srcId="{1F96DDB0-BF3B-4A95-9E99-004FA77DED20}" destId="{7DD1A38B-2F50-4F1C-82BC-E3AD1A1839A4}" srcOrd="0" destOrd="0" presId="urn:microsoft.com/office/officeart/2008/layout/AscendingPictureAccentProcess"/>
    <dgm:cxn modelId="{83FE5907-3FD8-4192-A27A-A8797A190854}" srcId="{9A77F774-01FE-4AD0-8249-E6C1DEECFCB2}" destId="{04B4A6D1-A154-4E7F-B508-BBD3E618E567}" srcOrd="0" destOrd="0" parTransId="{F91C0797-5D3C-41CB-AA0D-4359DBB7CDBE}" sibTransId="{79D4E666-4712-41A2-B8C0-472762AE49A5}"/>
    <dgm:cxn modelId="{363FBE76-8C87-47A9-B085-7D1AF9B45A38}" type="presOf" srcId="{190F5EFF-43FA-409D-AB50-BE412E1E4873}" destId="{9CF3ADE2-9CB5-46F9-B402-AEBA0793F782}" srcOrd="0" destOrd="0" presId="urn:microsoft.com/office/officeart/2008/layout/AscendingPictureAccentProcess"/>
    <dgm:cxn modelId="{5C31B529-8723-4938-B168-8ED3FAC70ADE}" srcId="{9A77F774-01FE-4AD0-8249-E6C1DEECFCB2}" destId="{1F96DDB0-BF3B-4A95-9E99-004FA77DED20}" srcOrd="2" destOrd="0" parTransId="{FDFDFF57-334B-49D2-9338-980E1E3E3C9D}" sibTransId="{190F5EFF-43FA-409D-AB50-BE412E1E4873}"/>
    <dgm:cxn modelId="{51B29A33-4FB4-4CD1-A02F-B5C14892340B}" type="presOf" srcId="{990D5555-D766-4B5B-89DA-67B42CC1FAFF}" destId="{41EC88DE-0BE4-42D4-96CC-B774EACC4567}" srcOrd="0" destOrd="0" presId="urn:microsoft.com/office/officeart/2008/layout/AscendingPictureAccentProcess"/>
    <dgm:cxn modelId="{0BF80492-FB8C-4A83-B558-CA957AC9F2D9}" type="presOf" srcId="{04B4A6D1-A154-4E7F-B508-BBD3E618E567}" destId="{76F015D7-DF7C-4C48-ACCF-B64B9E2320F8}" srcOrd="0" destOrd="0" presId="urn:microsoft.com/office/officeart/2008/layout/AscendingPictureAccentProcess"/>
    <dgm:cxn modelId="{57E708D2-8883-4F74-8F27-B57941AC3FED}" type="presOf" srcId="{658AFFBD-10C3-4DF2-B26F-51645C005B0E}" destId="{84229303-A497-4F47-8CF4-80409B1B57D0}" srcOrd="0" destOrd="0" presId="urn:microsoft.com/office/officeart/2008/layout/AscendingPictureAccentProcess"/>
    <dgm:cxn modelId="{80F48C7D-B0C3-4E83-9FF4-F0D21D00AB82}" type="presParOf" srcId="{BD46F368-79B6-4A08-AC85-8419BCDB987E}" destId="{094E6E2C-62F5-47AE-81DF-A1F881B1782C}" srcOrd="0" destOrd="0" presId="urn:microsoft.com/office/officeart/2008/layout/AscendingPictureAccentProcess"/>
    <dgm:cxn modelId="{C1180A3F-A986-4588-BCF4-F698718B06AB}" type="presParOf" srcId="{BD46F368-79B6-4A08-AC85-8419BCDB987E}" destId="{C3D6486D-3B22-4D86-86B5-9672BBF352D8}" srcOrd="1" destOrd="0" presId="urn:microsoft.com/office/officeart/2008/layout/AscendingPictureAccentProcess"/>
    <dgm:cxn modelId="{3A2EEA97-92AA-4523-8C7D-182011C0F422}" type="presParOf" srcId="{BD46F368-79B6-4A08-AC85-8419BCDB987E}" destId="{9585C7F6-DA89-42E0-AD07-526D82DDE393}" srcOrd="2" destOrd="0" presId="urn:microsoft.com/office/officeart/2008/layout/AscendingPictureAccentProcess"/>
    <dgm:cxn modelId="{E7AFFB5C-DC7D-4C70-866A-E90681DFC326}" type="presParOf" srcId="{BD46F368-79B6-4A08-AC85-8419BCDB987E}" destId="{6D087FC3-E4E8-4366-9A75-B9DC73FD1DF6}" srcOrd="3" destOrd="0" presId="urn:microsoft.com/office/officeart/2008/layout/AscendingPictureAccentProcess"/>
    <dgm:cxn modelId="{D717F5EF-4CBD-4154-A189-FCB604A24E2E}" type="presParOf" srcId="{BD46F368-79B6-4A08-AC85-8419BCDB987E}" destId="{82ED9154-2EB1-4ABC-9308-C33DD6412C75}" srcOrd="4" destOrd="0" presId="urn:microsoft.com/office/officeart/2008/layout/AscendingPictureAccentProcess"/>
    <dgm:cxn modelId="{4006F616-4B02-48DF-8D47-8D424C401C6A}" type="presParOf" srcId="{BD46F368-79B6-4A08-AC85-8419BCDB987E}" destId="{B3BCB230-B45D-44D0-B3ED-4FB33D05CCAB}" srcOrd="5" destOrd="0" presId="urn:microsoft.com/office/officeart/2008/layout/AscendingPictureAccentProcess"/>
    <dgm:cxn modelId="{20248896-E92A-4E25-8D7A-1394575B28EA}" type="presParOf" srcId="{BD46F368-79B6-4A08-AC85-8419BCDB987E}" destId="{DCE2A6D1-2F73-4D0A-9B0D-054A9F3EFBC9}" srcOrd="6" destOrd="0" presId="urn:microsoft.com/office/officeart/2008/layout/AscendingPictureAccentProcess"/>
    <dgm:cxn modelId="{C66923A0-A88D-44CA-8AA8-CCCFAA7B25D4}" type="presParOf" srcId="{BD46F368-79B6-4A08-AC85-8419BCDB987E}" destId="{C95FF3B1-160E-4B17-8B6A-186E92016483}" srcOrd="7" destOrd="0" presId="urn:microsoft.com/office/officeart/2008/layout/AscendingPictureAccentProcess"/>
    <dgm:cxn modelId="{B025026D-255A-4EEA-A9CE-691FFF0209CF}" type="presParOf" srcId="{BD46F368-79B6-4A08-AC85-8419BCDB987E}" destId="{EF526CF0-4CE9-4CA5-A686-CD26F62604B6}" srcOrd="8" destOrd="0" presId="urn:microsoft.com/office/officeart/2008/layout/AscendingPictureAccentProcess"/>
    <dgm:cxn modelId="{00F48DCB-4597-46C7-A5F1-C5C82CC3F10F}" type="presParOf" srcId="{BD46F368-79B6-4A08-AC85-8419BCDB987E}" destId="{F04BCDC5-FD95-4DBF-B975-5953D2FDF4C2}" srcOrd="9" destOrd="0" presId="urn:microsoft.com/office/officeart/2008/layout/AscendingPictureAccentProcess"/>
    <dgm:cxn modelId="{BAE60E10-E5D6-426F-9EE2-4BC935D371A7}" type="presParOf" srcId="{BD46F368-79B6-4A08-AC85-8419BCDB987E}" destId="{E0AFFDC4-A7EC-424A-8DB5-BE74047EF0B0}" srcOrd="10" destOrd="0" presId="urn:microsoft.com/office/officeart/2008/layout/AscendingPictureAccentProcess"/>
    <dgm:cxn modelId="{CB26CBD2-C11C-444E-AF85-621F2CB76BE4}" type="presParOf" srcId="{BD46F368-79B6-4A08-AC85-8419BCDB987E}" destId="{A32867C9-CEE0-4D7B-9A4A-263AF574E164}" srcOrd="11" destOrd="0" presId="urn:microsoft.com/office/officeart/2008/layout/AscendingPictureAccentProcess"/>
    <dgm:cxn modelId="{8D4553DD-1748-4CBA-8D6C-A1CCD78D149F}" type="presParOf" srcId="{BD46F368-79B6-4A08-AC85-8419BCDB987E}" destId="{76F015D7-DF7C-4C48-ACCF-B64B9E2320F8}" srcOrd="12" destOrd="0" presId="urn:microsoft.com/office/officeart/2008/layout/AscendingPictureAccentProcess"/>
    <dgm:cxn modelId="{8ED8A335-94B5-4EBC-9935-980793B7E868}" type="presParOf" srcId="{BD46F368-79B6-4A08-AC85-8419BCDB987E}" destId="{1057D6C3-CE73-4C3F-8669-34058337326D}" srcOrd="13" destOrd="0" presId="urn:microsoft.com/office/officeart/2008/layout/AscendingPictureAccentProcess"/>
    <dgm:cxn modelId="{E2602ED0-309D-4AFF-A4A7-CAB3AD0F1735}" type="presParOf" srcId="{1057D6C3-CE73-4C3F-8669-34058337326D}" destId="{5C854E40-201B-48CE-8F50-F530E4090928}" srcOrd="0" destOrd="0" presId="urn:microsoft.com/office/officeart/2008/layout/AscendingPictureAccentProcess"/>
    <dgm:cxn modelId="{6BD07522-2633-4305-9118-45B3538A6A14}" type="presParOf" srcId="{BD46F368-79B6-4A08-AC85-8419BCDB987E}" destId="{84229303-A497-4F47-8CF4-80409B1B57D0}" srcOrd="14" destOrd="0" presId="urn:microsoft.com/office/officeart/2008/layout/AscendingPictureAccentProcess"/>
    <dgm:cxn modelId="{9AE751C9-32B9-426D-B9BC-4D263755340C}" type="presParOf" srcId="{BD46F368-79B6-4A08-AC85-8419BCDB987E}" destId="{69F50CAC-84C5-4265-A7CB-5F873A5921D1}" srcOrd="15" destOrd="0" presId="urn:microsoft.com/office/officeart/2008/layout/AscendingPictureAccentProcess"/>
    <dgm:cxn modelId="{555ECC90-4D16-4E4B-AEF2-4258493E0CB9}" type="presParOf" srcId="{69F50CAC-84C5-4265-A7CB-5F873A5921D1}" destId="{41EC88DE-0BE4-42D4-96CC-B774EACC4567}" srcOrd="0" destOrd="0" presId="urn:microsoft.com/office/officeart/2008/layout/AscendingPictureAccentProcess"/>
    <dgm:cxn modelId="{1A516E03-6C78-407C-8134-D4CFEE0B4998}" type="presParOf" srcId="{BD46F368-79B6-4A08-AC85-8419BCDB987E}" destId="{7DD1A38B-2F50-4F1C-82BC-E3AD1A1839A4}" srcOrd="16" destOrd="0" presId="urn:microsoft.com/office/officeart/2008/layout/AscendingPictureAccentProcess"/>
    <dgm:cxn modelId="{167ECA48-10FE-4C3A-BB17-2DCB3FA83BD9}" type="presParOf" srcId="{BD46F368-79B6-4A08-AC85-8419BCDB987E}" destId="{F1E4CC3A-C0CF-41C5-AF85-E9C50F2C367C}" srcOrd="17" destOrd="0" presId="urn:microsoft.com/office/officeart/2008/layout/AscendingPictureAccentProcess"/>
    <dgm:cxn modelId="{903DB65F-F958-4502-984E-B07B6E0D573F}" type="presParOf" srcId="{F1E4CC3A-C0CF-41C5-AF85-E9C50F2C367C}" destId="{9CF3ADE2-9CB5-46F9-B402-AEBA0793F782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29E9AB8-AB69-40AE-A751-46F5A09EAB4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2DB67A2-F02E-40FA-A1A8-722667B9A9D6}">
      <dgm:prSet phldrT="[Текст]"/>
      <dgm:spPr/>
      <dgm:t>
        <a:bodyPr/>
        <a:lstStyle/>
        <a:p>
          <a:r>
            <a:rPr lang="ru-RU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РОГРАММА АУДИТА </a:t>
          </a:r>
          <a:endParaRPr lang="ru-RU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F9E52E-08B2-4B04-9B85-82650D442CF2}" type="parTrans" cxnId="{4C007CC5-1DAE-46FE-B9E3-8013B371B8A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7515BE0-2F67-47B4-8AEC-2E3FF499A79B}" type="sibTrans" cxnId="{4C007CC5-1DAE-46FE-B9E3-8013B371B8A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3CBC78-1016-4C92-A4AE-0D2FC8076825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оставление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лана-графика</a:t>
          </a:r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аудитов</a:t>
          </a:r>
        </a:p>
      </dgm:t>
    </dgm:pt>
    <dgm:pt modelId="{637A384C-3B50-4936-B1F8-73A42C44AD2E}" type="parTrans" cxnId="{0FBC9CB0-4B97-4B7E-A14C-E725636343C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8B6344-7174-48EC-B589-9D9CA94CE978}" type="sibTrans" cxnId="{0FBC9CB0-4B97-4B7E-A14C-E725636343CE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0AE44F-09AC-493A-8A98-8653AA43C258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мпетентности аудиторов </a:t>
          </a:r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 руководителей аудиторских групп</a:t>
          </a:r>
        </a:p>
      </dgm:t>
    </dgm:pt>
    <dgm:pt modelId="{11D66267-0848-4880-9A34-1DDC80CF5D3B}" type="parTrans" cxnId="{C9B997D3-7384-4D8A-8964-4D102934F441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EC2111-8A8A-4AB9-9A55-3F8DDB782937}" type="sibTrans" cxnId="{C9B997D3-7384-4D8A-8964-4D102934F441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A03277-2A6C-4979-8F50-4BEEB72A5E79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оведение аудита и обеспечение и поддержания записи по программе аудита</a:t>
          </a:r>
        </a:p>
      </dgm:t>
    </dgm:pt>
    <dgm:pt modelId="{8743ADB6-B44A-4C77-8783-06048BAA1F04}" type="parTrans" cxnId="{9CBFD195-EDA9-40B6-A415-A72038CB1AD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355865-2F22-4DBD-AD00-C76FE1DE7F62}" type="sibTrans" cxnId="{9CBFD195-EDA9-40B6-A415-A72038CB1AD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4C1277-F2C4-4EDA-A2D7-208869CE0B0B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ыполнение действий по результатам аудита, которые могут быть </a:t>
          </a:r>
          <a:r>
            <a: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рректирующими или предупреждающими</a:t>
          </a:r>
        </a:p>
      </dgm:t>
    </dgm:pt>
    <dgm:pt modelId="{009F9CA9-77BA-404E-9666-4F9F69FFAB70}" type="parTrans" cxnId="{6CA00638-A5C7-473C-A1EC-28C37315D0B7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A3C69E-63FF-4142-B4E3-42D8CA3C9CB2}" type="sibTrans" cxnId="{6CA00638-A5C7-473C-A1EC-28C37315D0B7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7B2FCA-6BA7-4C29-98A5-ECB30D8A9EE7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Мониторинг показателей результативности программы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3A5B6E4-B449-4B21-81FB-A0019198F992}" type="parTrans" cxnId="{815CC71E-FFB5-44A7-BC30-14C3009BB47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65AB034-8539-4C66-BDB2-A41FC21AC3A6}" type="sibTrans" cxnId="{815CC71E-FFB5-44A7-BC30-14C3009BB476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6E38F63-4EDC-4A46-8846-DC0DFB551509}">
      <dgm:prSet phldrT="[Текст]"/>
      <dgm:spPr/>
      <dgm:t>
        <a:bodyPr/>
        <a:lstStyle/>
        <a:p>
          <a:r>
            <a: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и утверждение отчетов по аудиту с обязательной рассылкой заинтересованным сторонам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284532-F56C-4E85-A246-83879301388A}" type="parTrans" cxnId="{960D34D4-ECE4-426F-9FC8-1D163BBDB60F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9DACE5-867D-4A74-9CB8-3C705586E00C}" type="sibTrans" cxnId="{960D34D4-ECE4-426F-9FC8-1D163BBDB60F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EC4AF72-B626-4666-AE81-D66347C6B809}" type="pres">
      <dgm:prSet presAssocID="{A29E9AB8-AB69-40AE-A751-46F5A09EAB4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2661F6E-3D36-4F70-9D31-9BC41EC4732A}" type="pres">
      <dgm:prSet presAssocID="{C2DB67A2-F02E-40FA-A1A8-722667B9A9D6}" presName="thickLine" presStyleLbl="alignNode1" presStyleIdx="0" presStyleCnt="1"/>
      <dgm:spPr/>
    </dgm:pt>
    <dgm:pt modelId="{55D35E7A-A33E-4E72-9297-19F600FD48E3}" type="pres">
      <dgm:prSet presAssocID="{C2DB67A2-F02E-40FA-A1A8-722667B9A9D6}" presName="horz1" presStyleCnt="0"/>
      <dgm:spPr/>
    </dgm:pt>
    <dgm:pt modelId="{5965F39B-7356-43DE-9B8C-7F1C1DF1547F}" type="pres">
      <dgm:prSet presAssocID="{C2DB67A2-F02E-40FA-A1A8-722667B9A9D6}" presName="tx1" presStyleLbl="revTx" presStyleIdx="0" presStyleCnt="7"/>
      <dgm:spPr/>
      <dgm:t>
        <a:bodyPr/>
        <a:lstStyle/>
        <a:p>
          <a:endParaRPr lang="ru-RU"/>
        </a:p>
      </dgm:t>
    </dgm:pt>
    <dgm:pt modelId="{792793CB-E06C-4E75-AF0A-3026E4D5249F}" type="pres">
      <dgm:prSet presAssocID="{C2DB67A2-F02E-40FA-A1A8-722667B9A9D6}" presName="vert1" presStyleCnt="0"/>
      <dgm:spPr/>
    </dgm:pt>
    <dgm:pt modelId="{B774A676-1E59-466F-8611-17F667C67203}" type="pres">
      <dgm:prSet presAssocID="{733CBC78-1016-4C92-A4AE-0D2FC8076825}" presName="vertSpace2a" presStyleCnt="0"/>
      <dgm:spPr/>
    </dgm:pt>
    <dgm:pt modelId="{D40B7D2D-0B3D-4A3A-8265-F5A07EAFF9CD}" type="pres">
      <dgm:prSet presAssocID="{733CBC78-1016-4C92-A4AE-0D2FC8076825}" presName="horz2" presStyleCnt="0"/>
      <dgm:spPr/>
    </dgm:pt>
    <dgm:pt modelId="{6CCEFED7-ABE8-4429-B26F-81A2853BFC23}" type="pres">
      <dgm:prSet presAssocID="{733CBC78-1016-4C92-A4AE-0D2FC8076825}" presName="horzSpace2" presStyleCnt="0"/>
      <dgm:spPr/>
    </dgm:pt>
    <dgm:pt modelId="{D53CA1A3-F6AB-4B94-A70A-C374A474BC38}" type="pres">
      <dgm:prSet presAssocID="{733CBC78-1016-4C92-A4AE-0D2FC8076825}" presName="tx2" presStyleLbl="revTx" presStyleIdx="1" presStyleCnt="7"/>
      <dgm:spPr/>
      <dgm:t>
        <a:bodyPr/>
        <a:lstStyle/>
        <a:p>
          <a:endParaRPr lang="ru-RU"/>
        </a:p>
      </dgm:t>
    </dgm:pt>
    <dgm:pt modelId="{438B02DE-1EF4-4641-86EA-0926F2D4E84A}" type="pres">
      <dgm:prSet presAssocID="{733CBC78-1016-4C92-A4AE-0D2FC8076825}" presName="vert2" presStyleCnt="0"/>
      <dgm:spPr/>
    </dgm:pt>
    <dgm:pt modelId="{12CDBCBA-774B-40DF-B2B2-3739DAB2AA11}" type="pres">
      <dgm:prSet presAssocID="{733CBC78-1016-4C92-A4AE-0D2FC8076825}" presName="thinLine2b" presStyleLbl="callout" presStyleIdx="0" presStyleCnt="6"/>
      <dgm:spPr/>
    </dgm:pt>
    <dgm:pt modelId="{FF035992-2773-49B0-BBA5-5E3251A3CBD7}" type="pres">
      <dgm:prSet presAssocID="{733CBC78-1016-4C92-A4AE-0D2FC8076825}" presName="vertSpace2b" presStyleCnt="0"/>
      <dgm:spPr/>
    </dgm:pt>
    <dgm:pt modelId="{3FAE121A-CC94-4793-ACFA-ABED5D1B49D1}" type="pres">
      <dgm:prSet presAssocID="{7A0AE44F-09AC-493A-8A98-8653AA43C258}" presName="horz2" presStyleCnt="0"/>
      <dgm:spPr/>
    </dgm:pt>
    <dgm:pt modelId="{2E739D7B-6F70-4365-BC57-688034036BD8}" type="pres">
      <dgm:prSet presAssocID="{7A0AE44F-09AC-493A-8A98-8653AA43C258}" presName="horzSpace2" presStyleCnt="0"/>
      <dgm:spPr/>
    </dgm:pt>
    <dgm:pt modelId="{CAF14012-C5E5-4E79-97F5-356064DA710C}" type="pres">
      <dgm:prSet presAssocID="{7A0AE44F-09AC-493A-8A98-8653AA43C258}" presName="tx2" presStyleLbl="revTx" presStyleIdx="2" presStyleCnt="7"/>
      <dgm:spPr/>
      <dgm:t>
        <a:bodyPr/>
        <a:lstStyle/>
        <a:p>
          <a:endParaRPr lang="ru-RU"/>
        </a:p>
      </dgm:t>
    </dgm:pt>
    <dgm:pt modelId="{1CD7E73E-DA28-486C-8630-17D23B80C997}" type="pres">
      <dgm:prSet presAssocID="{7A0AE44F-09AC-493A-8A98-8653AA43C258}" presName="vert2" presStyleCnt="0"/>
      <dgm:spPr/>
    </dgm:pt>
    <dgm:pt modelId="{47D8A9B8-4977-4FC5-BEE3-DAE8D342C587}" type="pres">
      <dgm:prSet presAssocID="{7A0AE44F-09AC-493A-8A98-8653AA43C258}" presName="thinLine2b" presStyleLbl="callout" presStyleIdx="1" presStyleCnt="6"/>
      <dgm:spPr/>
    </dgm:pt>
    <dgm:pt modelId="{4BFE1E97-141D-45B7-8C81-B6D2C3DBACFF}" type="pres">
      <dgm:prSet presAssocID="{7A0AE44F-09AC-493A-8A98-8653AA43C258}" presName="vertSpace2b" presStyleCnt="0"/>
      <dgm:spPr/>
    </dgm:pt>
    <dgm:pt modelId="{4F9F8D04-D711-422F-9470-99FB23F3D316}" type="pres">
      <dgm:prSet presAssocID="{BAA03277-2A6C-4979-8F50-4BEEB72A5E79}" presName="horz2" presStyleCnt="0"/>
      <dgm:spPr/>
    </dgm:pt>
    <dgm:pt modelId="{68444541-29D4-40F5-9D63-05DA79128693}" type="pres">
      <dgm:prSet presAssocID="{BAA03277-2A6C-4979-8F50-4BEEB72A5E79}" presName="horzSpace2" presStyleCnt="0"/>
      <dgm:spPr/>
    </dgm:pt>
    <dgm:pt modelId="{718E637F-68CE-427E-940B-AFC28BE3BAB2}" type="pres">
      <dgm:prSet presAssocID="{BAA03277-2A6C-4979-8F50-4BEEB72A5E79}" presName="tx2" presStyleLbl="revTx" presStyleIdx="3" presStyleCnt="7"/>
      <dgm:spPr/>
      <dgm:t>
        <a:bodyPr/>
        <a:lstStyle/>
        <a:p>
          <a:endParaRPr lang="ru-RU"/>
        </a:p>
      </dgm:t>
    </dgm:pt>
    <dgm:pt modelId="{636AA3D4-989F-4126-BB22-6B4F988924E4}" type="pres">
      <dgm:prSet presAssocID="{BAA03277-2A6C-4979-8F50-4BEEB72A5E79}" presName="vert2" presStyleCnt="0"/>
      <dgm:spPr/>
    </dgm:pt>
    <dgm:pt modelId="{8B822711-CDCD-48A4-A5C7-7CB975702142}" type="pres">
      <dgm:prSet presAssocID="{BAA03277-2A6C-4979-8F50-4BEEB72A5E79}" presName="thinLine2b" presStyleLbl="callout" presStyleIdx="2" presStyleCnt="6"/>
      <dgm:spPr/>
    </dgm:pt>
    <dgm:pt modelId="{E3890341-E578-41C5-AB5B-5547660D3F6C}" type="pres">
      <dgm:prSet presAssocID="{BAA03277-2A6C-4979-8F50-4BEEB72A5E79}" presName="vertSpace2b" presStyleCnt="0"/>
      <dgm:spPr/>
    </dgm:pt>
    <dgm:pt modelId="{4C93D7D5-7C6A-40AF-8165-1E2DEEDC9323}" type="pres">
      <dgm:prSet presAssocID="{3F4C1277-F2C4-4EDA-A2D7-208869CE0B0B}" presName="horz2" presStyleCnt="0"/>
      <dgm:spPr/>
    </dgm:pt>
    <dgm:pt modelId="{63FEFD5F-D10E-4D28-9D51-64916CAB8964}" type="pres">
      <dgm:prSet presAssocID="{3F4C1277-F2C4-4EDA-A2D7-208869CE0B0B}" presName="horzSpace2" presStyleCnt="0"/>
      <dgm:spPr/>
    </dgm:pt>
    <dgm:pt modelId="{210D6227-A5FA-43F5-9289-BA8FEC8BD215}" type="pres">
      <dgm:prSet presAssocID="{3F4C1277-F2C4-4EDA-A2D7-208869CE0B0B}" presName="tx2" presStyleLbl="revTx" presStyleIdx="4" presStyleCnt="7"/>
      <dgm:spPr/>
      <dgm:t>
        <a:bodyPr/>
        <a:lstStyle/>
        <a:p>
          <a:endParaRPr lang="ru-RU"/>
        </a:p>
      </dgm:t>
    </dgm:pt>
    <dgm:pt modelId="{B0668F83-F710-4BA5-B2A9-09CF51A794ED}" type="pres">
      <dgm:prSet presAssocID="{3F4C1277-F2C4-4EDA-A2D7-208869CE0B0B}" presName="vert2" presStyleCnt="0"/>
      <dgm:spPr/>
    </dgm:pt>
    <dgm:pt modelId="{51B8199D-34C7-4CE9-85FF-E6F68E5956AD}" type="pres">
      <dgm:prSet presAssocID="{3F4C1277-F2C4-4EDA-A2D7-208869CE0B0B}" presName="thinLine2b" presStyleLbl="callout" presStyleIdx="3" presStyleCnt="6"/>
      <dgm:spPr/>
    </dgm:pt>
    <dgm:pt modelId="{6D71194A-6097-49E7-B1A8-D16F37F19012}" type="pres">
      <dgm:prSet presAssocID="{3F4C1277-F2C4-4EDA-A2D7-208869CE0B0B}" presName="vertSpace2b" presStyleCnt="0"/>
      <dgm:spPr/>
    </dgm:pt>
    <dgm:pt modelId="{F4DF4350-5D7D-4C4C-826E-6F5BFCF6136D}" type="pres">
      <dgm:prSet presAssocID="{047B2FCA-6BA7-4C29-98A5-ECB30D8A9EE7}" presName="horz2" presStyleCnt="0"/>
      <dgm:spPr/>
    </dgm:pt>
    <dgm:pt modelId="{BDAF06F3-9B98-418F-BCF8-7912CB9EEC75}" type="pres">
      <dgm:prSet presAssocID="{047B2FCA-6BA7-4C29-98A5-ECB30D8A9EE7}" presName="horzSpace2" presStyleCnt="0"/>
      <dgm:spPr/>
    </dgm:pt>
    <dgm:pt modelId="{D5F810C2-C948-49C6-8BD7-848014C6E889}" type="pres">
      <dgm:prSet presAssocID="{047B2FCA-6BA7-4C29-98A5-ECB30D8A9EE7}" presName="tx2" presStyleLbl="revTx" presStyleIdx="5" presStyleCnt="7"/>
      <dgm:spPr/>
      <dgm:t>
        <a:bodyPr/>
        <a:lstStyle/>
        <a:p>
          <a:endParaRPr lang="ru-RU"/>
        </a:p>
      </dgm:t>
    </dgm:pt>
    <dgm:pt modelId="{2D4A6DE5-E5C2-4B60-8F3A-87E2BA8DA36E}" type="pres">
      <dgm:prSet presAssocID="{047B2FCA-6BA7-4C29-98A5-ECB30D8A9EE7}" presName="vert2" presStyleCnt="0"/>
      <dgm:spPr/>
    </dgm:pt>
    <dgm:pt modelId="{1F37052F-2A59-464B-AF0C-F33823A5E534}" type="pres">
      <dgm:prSet presAssocID="{047B2FCA-6BA7-4C29-98A5-ECB30D8A9EE7}" presName="thinLine2b" presStyleLbl="callout" presStyleIdx="4" presStyleCnt="6"/>
      <dgm:spPr/>
    </dgm:pt>
    <dgm:pt modelId="{CDEE26A7-1F66-4B21-94E4-E814F7237898}" type="pres">
      <dgm:prSet presAssocID="{047B2FCA-6BA7-4C29-98A5-ECB30D8A9EE7}" presName="vertSpace2b" presStyleCnt="0"/>
      <dgm:spPr/>
    </dgm:pt>
    <dgm:pt modelId="{550779B5-C4A8-43B9-B139-7929B0AC1730}" type="pres">
      <dgm:prSet presAssocID="{66E38F63-4EDC-4A46-8846-DC0DFB551509}" presName="horz2" presStyleCnt="0"/>
      <dgm:spPr/>
    </dgm:pt>
    <dgm:pt modelId="{6CC081A5-901F-4060-A247-73E574E463ED}" type="pres">
      <dgm:prSet presAssocID="{66E38F63-4EDC-4A46-8846-DC0DFB551509}" presName="horzSpace2" presStyleCnt="0"/>
      <dgm:spPr/>
    </dgm:pt>
    <dgm:pt modelId="{139CCFB1-68AB-4B5A-A85B-0A5909ED56E1}" type="pres">
      <dgm:prSet presAssocID="{66E38F63-4EDC-4A46-8846-DC0DFB551509}" presName="tx2" presStyleLbl="revTx" presStyleIdx="6" presStyleCnt="7"/>
      <dgm:spPr/>
      <dgm:t>
        <a:bodyPr/>
        <a:lstStyle/>
        <a:p>
          <a:endParaRPr lang="ru-RU"/>
        </a:p>
      </dgm:t>
    </dgm:pt>
    <dgm:pt modelId="{A8A14C10-26B1-4E6C-B925-A811029F1E3E}" type="pres">
      <dgm:prSet presAssocID="{66E38F63-4EDC-4A46-8846-DC0DFB551509}" presName="vert2" presStyleCnt="0"/>
      <dgm:spPr/>
    </dgm:pt>
    <dgm:pt modelId="{A4CC175F-2E19-4E75-8BAF-83A3CCE222E8}" type="pres">
      <dgm:prSet presAssocID="{66E38F63-4EDC-4A46-8846-DC0DFB551509}" presName="thinLine2b" presStyleLbl="callout" presStyleIdx="5" presStyleCnt="6"/>
      <dgm:spPr/>
    </dgm:pt>
    <dgm:pt modelId="{E23F7EE3-12BB-468E-A840-D8110FB0A0E4}" type="pres">
      <dgm:prSet presAssocID="{66E38F63-4EDC-4A46-8846-DC0DFB551509}" presName="vertSpace2b" presStyleCnt="0"/>
      <dgm:spPr/>
    </dgm:pt>
  </dgm:ptLst>
  <dgm:cxnLst>
    <dgm:cxn modelId="{97532BDD-20BE-4546-AB96-96EC386FB682}" type="presOf" srcId="{C2DB67A2-F02E-40FA-A1A8-722667B9A9D6}" destId="{5965F39B-7356-43DE-9B8C-7F1C1DF1547F}" srcOrd="0" destOrd="0" presId="urn:microsoft.com/office/officeart/2008/layout/LinedList"/>
    <dgm:cxn modelId="{37135616-5B05-45BA-BB0B-B24F5F930781}" type="presOf" srcId="{BAA03277-2A6C-4979-8F50-4BEEB72A5E79}" destId="{718E637F-68CE-427E-940B-AFC28BE3BAB2}" srcOrd="0" destOrd="0" presId="urn:microsoft.com/office/officeart/2008/layout/LinedList"/>
    <dgm:cxn modelId="{0FBC9CB0-4B97-4B7E-A14C-E725636343CE}" srcId="{C2DB67A2-F02E-40FA-A1A8-722667B9A9D6}" destId="{733CBC78-1016-4C92-A4AE-0D2FC8076825}" srcOrd="0" destOrd="0" parTransId="{637A384C-3B50-4936-B1F8-73A42C44AD2E}" sibTransId="{EA8B6344-7174-48EC-B589-9D9CA94CE978}"/>
    <dgm:cxn modelId="{9CBFD195-EDA9-40B6-A415-A72038CB1AD6}" srcId="{C2DB67A2-F02E-40FA-A1A8-722667B9A9D6}" destId="{BAA03277-2A6C-4979-8F50-4BEEB72A5E79}" srcOrd="2" destOrd="0" parTransId="{8743ADB6-B44A-4C77-8783-06048BAA1F04}" sibTransId="{95355865-2F22-4DBD-AD00-C76FE1DE7F62}"/>
    <dgm:cxn modelId="{815CC71E-FFB5-44A7-BC30-14C3009BB476}" srcId="{C2DB67A2-F02E-40FA-A1A8-722667B9A9D6}" destId="{047B2FCA-6BA7-4C29-98A5-ECB30D8A9EE7}" srcOrd="4" destOrd="0" parTransId="{83A5B6E4-B449-4B21-81FB-A0019198F992}" sibTransId="{365AB034-8539-4C66-BDB2-A41FC21AC3A6}"/>
    <dgm:cxn modelId="{B8B1D756-8084-415B-BF6F-0B7CACBB7B97}" type="presOf" srcId="{047B2FCA-6BA7-4C29-98A5-ECB30D8A9EE7}" destId="{D5F810C2-C948-49C6-8BD7-848014C6E889}" srcOrd="0" destOrd="0" presId="urn:microsoft.com/office/officeart/2008/layout/LinedList"/>
    <dgm:cxn modelId="{5D1B0A94-74AE-48E2-8236-D9EC60B03BC5}" type="presOf" srcId="{A29E9AB8-AB69-40AE-A751-46F5A09EAB4E}" destId="{6EC4AF72-B626-4666-AE81-D66347C6B809}" srcOrd="0" destOrd="0" presId="urn:microsoft.com/office/officeart/2008/layout/LinedList"/>
    <dgm:cxn modelId="{DE47DBA3-B2F2-470D-811C-8D8A801AD3A0}" type="presOf" srcId="{3F4C1277-F2C4-4EDA-A2D7-208869CE0B0B}" destId="{210D6227-A5FA-43F5-9289-BA8FEC8BD215}" srcOrd="0" destOrd="0" presId="urn:microsoft.com/office/officeart/2008/layout/LinedList"/>
    <dgm:cxn modelId="{6CA00638-A5C7-473C-A1EC-28C37315D0B7}" srcId="{C2DB67A2-F02E-40FA-A1A8-722667B9A9D6}" destId="{3F4C1277-F2C4-4EDA-A2D7-208869CE0B0B}" srcOrd="3" destOrd="0" parTransId="{009F9CA9-77BA-404E-9666-4F9F69FFAB70}" sibTransId="{F6A3C69E-63FF-4142-B4E3-42D8CA3C9CB2}"/>
    <dgm:cxn modelId="{C9B997D3-7384-4D8A-8964-4D102934F441}" srcId="{C2DB67A2-F02E-40FA-A1A8-722667B9A9D6}" destId="{7A0AE44F-09AC-493A-8A98-8653AA43C258}" srcOrd="1" destOrd="0" parTransId="{11D66267-0848-4880-9A34-1DDC80CF5D3B}" sibTransId="{8EEC2111-8A8A-4AB9-9A55-3F8DDB782937}"/>
    <dgm:cxn modelId="{960D34D4-ECE4-426F-9FC8-1D163BBDB60F}" srcId="{C2DB67A2-F02E-40FA-A1A8-722667B9A9D6}" destId="{66E38F63-4EDC-4A46-8846-DC0DFB551509}" srcOrd="5" destOrd="0" parTransId="{C3284532-F56C-4E85-A246-83879301388A}" sibTransId="{719DACE5-867D-4A74-9CB8-3C705586E00C}"/>
    <dgm:cxn modelId="{299D1CB9-B6A3-494B-81FE-B29BDA917277}" type="presOf" srcId="{7A0AE44F-09AC-493A-8A98-8653AA43C258}" destId="{CAF14012-C5E5-4E79-97F5-356064DA710C}" srcOrd="0" destOrd="0" presId="urn:microsoft.com/office/officeart/2008/layout/LinedList"/>
    <dgm:cxn modelId="{4BD9CCD2-37E2-469A-80FA-33F0ABDEC63D}" type="presOf" srcId="{733CBC78-1016-4C92-A4AE-0D2FC8076825}" destId="{D53CA1A3-F6AB-4B94-A70A-C374A474BC38}" srcOrd="0" destOrd="0" presId="urn:microsoft.com/office/officeart/2008/layout/LinedList"/>
    <dgm:cxn modelId="{4C007CC5-1DAE-46FE-B9E3-8013B371B8AE}" srcId="{A29E9AB8-AB69-40AE-A751-46F5A09EAB4E}" destId="{C2DB67A2-F02E-40FA-A1A8-722667B9A9D6}" srcOrd="0" destOrd="0" parTransId="{7AF9E52E-08B2-4B04-9B85-82650D442CF2}" sibTransId="{47515BE0-2F67-47B4-8AEC-2E3FF499A79B}"/>
    <dgm:cxn modelId="{1481D555-AC9B-45CF-A1CD-7529CCEF3EFB}" type="presOf" srcId="{66E38F63-4EDC-4A46-8846-DC0DFB551509}" destId="{139CCFB1-68AB-4B5A-A85B-0A5909ED56E1}" srcOrd="0" destOrd="0" presId="urn:microsoft.com/office/officeart/2008/layout/LinedList"/>
    <dgm:cxn modelId="{18A57CB8-C48C-46B1-A59C-32C4904F95A6}" type="presParOf" srcId="{6EC4AF72-B626-4666-AE81-D66347C6B809}" destId="{12661F6E-3D36-4F70-9D31-9BC41EC4732A}" srcOrd="0" destOrd="0" presId="urn:microsoft.com/office/officeart/2008/layout/LinedList"/>
    <dgm:cxn modelId="{E038D99A-23EE-4C38-AFAF-0A022ED85190}" type="presParOf" srcId="{6EC4AF72-B626-4666-AE81-D66347C6B809}" destId="{55D35E7A-A33E-4E72-9297-19F600FD48E3}" srcOrd="1" destOrd="0" presId="urn:microsoft.com/office/officeart/2008/layout/LinedList"/>
    <dgm:cxn modelId="{4E495967-8667-41EE-BB2D-05B74410DEAE}" type="presParOf" srcId="{55D35E7A-A33E-4E72-9297-19F600FD48E3}" destId="{5965F39B-7356-43DE-9B8C-7F1C1DF1547F}" srcOrd="0" destOrd="0" presId="urn:microsoft.com/office/officeart/2008/layout/LinedList"/>
    <dgm:cxn modelId="{51FC7B72-FC76-4186-841B-234EC20B79BA}" type="presParOf" srcId="{55D35E7A-A33E-4E72-9297-19F600FD48E3}" destId="{792793CB-E06C-4E75-AF0A-3026E4D5249F}" srcOrd="1" destOrd="0" presId="urn:microsoft.com/office/officeart/2008/layout/LinedList"/>
    <dgm:cxn modelId="{35DB5CD3-6AF8-4C03-BBFC-C1A159A38FFE}" type="presParOf" srcId="{792793CB-E06C-4E75-AF0A-3026E4D5249F}" destId="{B774A676-1E59-466F-8611-17F667C67203}" srcOrd="0" destOrd="0" presId="urn:microsoft.com/office/officeart/2008/layout/LinedList"/>
    <dgm:cxn modelId="{F8D218F6-8696-4B91-9E5A-4CEB1D0F10A2}" type="presParOf" srcId="{792793CB-E06C-4E75-AF0A-3026E4D5249F}" destId="{D40B7D2D-0B3D-4A3A-8265-F5A07EAFF9CD}" srcOrd="1" destOrd="0" presId="urn:microsoft.com/office/officeart/2008/layout/LinedList"/>
    <dgm:cxn modelId="{CD8B6F1F-0D00-4D6F-BAAA-8741667E4861}" type="presParOf" srcId="{D40B7D2D-0B3D-4A3A-8265-F5A07EAFF9CD}" destId="{6CCEFED7-ABE8-4429-B26F-81A2853BFC23}" srcOrd="0" destOrd="0" presId="urn:microsoft.com/office/officeart/2008/layout/LinedList"/>
    <dgm:cxn modelId="{2AEF2DFB-2ECE-4110-8ED1-55F7FD98EE8B}" type="presParOf" srcId="{D40B7D2D-0B3D-4A3A-8265-F5A07EAFF9CD}" destId="{D53CA1A3-F6AB-4B94-A70A-C374A474BC38}" srcOrd="1" destOrd="0" presId="urn:microsoft.com/office/officeart/2008/layout/LinedList"/>
    <dgm:cxn modelId="{7FD6714A-872B-46AC-AF03-E36396B09BB6}" type="presParOf" srcId="{D40B7D2D-0B3D-4A3A-8265-F5A07EAFF9CD}" destId="{438B02DE-1EF4-4641-86EA-0926F2D4E84A}" srcOrd="2" destOrd="0" presId="urn:microsoft.com/office/officeart/2008/layout/LinedList"/>
    <dgm:cxn modelId="{B9BF4B0E-FF04-4931-B0CD-B8A710C78B7B}" type="presParOf" srcId="{792793CB-E06C-4E75-AF0A-3026E4D5249F}" destId="{12CDBCBA-774B-40DF-B2B2-3739DAB2AA11}" srcOrd="2" destOrd="0" presId="urn:microsoft.com/office/officeart/2008/layout/LinedList"/>
    <dgm:cxn modelId="{7452541E-6A53-4D76-8C8A-BD85CA8F1142}" type="presParOf" srcId="{792793CB-E06C-4E75-AF0A-3026E4D5249F}" destId="{FF035992-2773-49B0-BBA5-5E3251A3CBD7}" srcOrd="3" destOrd="0" presId="urn:microsoft.com/office/officeart/2008/layout/LinedList"/>
    <dgm:cxn modelId="{D2D1E413-3682-4885-AE69-79C1CF894851}" type="presParOf" srcId="{792793CB-E06C-4E75-AF0A-3026E4D5249F}" destId="{3FAE121A-CC94-4793-ACFA-ABED5D1B49D1}" srcOrd="4" destOrd="0" presId="urn:microsoft.com/office/officeart/2008/layout/LinedList"/>
    <dgm:cxn modelId="{8ED3D447-0C35-4143-8CAE-6263B21D6569}" type="presParOf" srcId="{3FAE121A-CC94-4793-ACFA-ABED5D1B49D1}" destId="{2E739D7B-6F70-4365-BC57-688034036BD8}" srcOrd="0" destOrd="0" presId="urn:microsoft.com/office/officeart/2008/layout/LinedList"/>
    <dgm:cxn modelId="{B4AD6720-3E1A-4000-A867-504D9C187CE1}" type="presParOf" srcId="{3FAE121A-CC94-4793-ACFA-ABED5D1B49D1}" destId="{CAF14012-C5E5-4E79-97F5-356064DA710C}" srcOrd="1" destOrd="0" presId="urn:microsoft.com/office/officeart/2008/layout/LinedList"/>
    <dgm:cxn modelId="{71AB0E77-513D-4885-99D1-D634BF8FB761}" type="presParOf" srcId="{3FAE121A-CC94-4793-ACFA-ABED5D1B49D1}" destId="{1CD7E73E-DA28-486C-8630-17D23B80C997}" srcOrd="2" destOrd="0" presId="urn:microsoft.com/office/officeart/2008/layout/LinedList"/>
    <dgm:cxn modelId="{9971F54B-ACB8-45EB-9805-B2C75080F901}" type="presParOf" srcId="{792793CB-E06C-4E75-AF0A-3026E4D5249F}" destId="{47D8A9B8-4977-4FC5-BEE3-DAE8D342C587}" srcOrd="5" destOrd="0" presId="urn:microsoft.com/office/officeart/2008/layout/LinedList"/>
    <dgm:cxn modelId="{995D973C-D7CC-4DF4-ABBC-A8BF293AE96B}" type="presParOf" srcId="{792793CB-E06C-4E75-AF0A-3026E4D5249F}" destId="{4BFE1E97-141D-45B7-8C81-B6D2C3DBACFF}" srcOrd="6" destOrd="0" presId="urn:microsoft.com/office/officeart/2008/layout/LinedList"/>
    <dgm:cxn modelId="{25E81D1A-8BE5-4BFC-8A57-BC0B7FCAA7CF}" type="presParOf" srcId="{792793CB-E06C-4E75-AF0A-3026E4D5249F}" destId="{4F9F8D04-D711-422F-9470-99FB23F3D316}" srcOrd="7" destOrd="0" presId="urn:microsoft.com/office/officeart/2008/layout/LinedList"/>
    <dgm:cxn modelId="{0E5230C6-3402-4A24-A807-1A664B2D907B}" type="presParOf" srcId="{4F9F8D04-D711-422F-9470-99FB23F3D316}" destId="{68444541-29D4-40F5-9D63-05DA79128693}" srcOrd="0" destOrd="0" presId="urn:microsoft.com/office/officeart/2008/layout/LinedList"/>
    <dgm:cxn modelId="{B52C7114-EF52-4750-9322-6F925B88B4BE}" type="presParOf" srcId="{4F9F8D04-D711-422F-9470-99FB23F3D316}" destId="{718E637F-68CE-427E-940B-AFC28BE3BAB2}" srcOrd="1" destOrd="0" presId="urn:microsoft.com/office/officeart/2008/layout/LinedList"/>
    <dgm:cxn modelId="{CF63837A-7F10-42C2-BF38-E8BB5F46428C}" type="presParOf" srcId="{4F9F8D04-D711-422F-9470-99FB23F3D316}" destId="{636AA3D4-989F-4126-BB22-6B4F988924E4}" srcOrd="2" destOrd="0" presId="urn:microsoft.com/office/officeart/2008/layout/LinedList"/>
    <dgm:cxn modelId="{A03FF435-E651-4178-9E45-FAA1748A199F}" type="presParOf" srcId="{792793CB-E06C-4E75-AF0A-3026E4D5249F}" destId="{8B822711-CDCD-48A4-A5C7-7CB975702142}" srcOrd="8" destOrd="0" presId="urn:microsoft.com/office/officeart/2008/layout/LinedList"/>
    <dgm:cxn modelId="{2C5716C5-EA1F-42D3-B5B1-FD49DC8C8E3D}" type="presParOf" srcId="{792793CB-E06C-4E75-AF0A-3026E4D5249F}" destId="{E3890341-E578-41C5-AB5B-5547660D3F6C}" srcOrd="9" destOrd="0" presId="urn:microsoft.com/office/officeart/2008/layout/LinedList"/>
    <dgm:cxn modelId="{7E91B2E5-7904-4DBA-8AD7-60628CB8B4A0}" type="presParOf" srcId="{792793CB-E06C-4E75-AF0A-3026E4D5249F}" destId="{4C93D7D5-7C6A-40AF-8165-1E2DEEDC9323}" srcOrd="10" destOrd="0" presId="urn:microsoft.com/office/officeart/2008/layout/LinedList"/>
    <dgm:cxn modelId="{376E6431-ACF2-4F65-B3E4-5931F1887BCA}" type="presParOf" srcId="{4C93D7D5-7C6A-40AF-8165-1E2DEEDC9323}" destId="{63FEFD5F-D10E-4D28-9D51-64916CAB8964}" srcOrd="0" destOrd="0" presId="urn:microsoft.com/office/officeart/2008/layout/LinedList"/>
    <dgm:cxn modelId="{942ADE14-7F55-47E9-9D47-E1CB8251D5CD}" type="presParOf" srcId="{4C93D7D5-7C6A-40AF-8165-1E2DEEDC9323}" destId="{210D6227-A5FA-43F5-9289-BA8FEC8BD215}" srcOrd="1" destOrd="0" presId="urn:microsoft.com/office/officeart/2008/layout/LinedList"/>
    <dgm:cxn modelId="{CBA42255-C6FC-4188-ABAE-8E23EB7EF14C}" type="presParOf" srcId="{4C93D7D5-7C6A-40AF-8165-1E2DEEDC9323}" destId="{B0668F83-F710-4BA5-B2A9-09CF51A794ED}" srcOrd="2" destOrd="0" presId="urn:microsoft.com/office/officeart/2008/layout/LinedList"/>
    <dgm:cxn modelId="{5EB64ED1-0EA2-4E69-A78E-9ACA6A328F3B}" type="presParOf" srcId="{792793CB-E06C-4E75-AF0A-3026E4D5249F}" destId="{51B8199D-34C7-4CE9-85FF-E6F68E5956AD}" srcOrd="11" destOrd="0" presId="urn:microsoft.com/office/officeart/2008/layout/LinedList"/>
    <dgm:cxn modelId="{0D292E30-BD9F-43A3-A0B1-A87A6DBCE9D4}" type="presParOf" srcId="{792793CB-E06C-4E75-AF0A-3026E4D5249F}" destId="{6D71194A-6097-49E7-B1A8-D16F37F19012}" srcOrd="12" destOrd="0" presId="urn:microsoft.com/office/officeart/2008/layout/LinedList"/>
    <dgm:cxn modelId="{0ADD5A4D-8283-4E17-AF12-4507AD6E7AEE}" type="presParOf" srcId="{792793CB-E06C-4E75-AF0A-3026E4D5249F}" destId="{F4DF4350-5D7D-4C4C-826E-6F5BFCF6136D}" srcOrd="13" destOrd="0" presId="urn:microsoft.com/office/officeart/2008/layout/LinedList"/>
    <dgm:cxn modelId="{2DED2805-39E7-4D43-A47A-8AB1D1F4DA78}" type="presParOf" srcId="{F4DF4350-5D7D-4C4C-826E-6F5BFCF6136D}" destId="{BDAF06F3-9B98-418F-BCF8-7912CB9EEC75}" srcOrd="0" destOrd="0" presId="urn:microsoft.com/office/officeart/2008/layout/LinedList"/>
    <dgm:cxn modelId="{A6426E01-68B7-4771-8623-9C10F627D041}" type="presParOf" srcId="{F4DF4350-5D7D-4C4C-826E-6F5BFCF6136D}" destId="{D5F810C2-C948-49C6-8BD7-848014C6E889}" srcOrd="1" destOrd="0" presId="urn:microsoft.com/office/officeart/2008/layout/LinedList"/>
    <dgm:cxn modelId="{D91C3C21-E101-4C56-8DEB-F53A82E2CA75}" type="presParOf" srcId="{F4DF4350-5D7D-4C4C-826E-6F5BFCF6136D}" destId="{2D4A6DE5-E5C2-4B60-8F3A-87E2BA8DA36E}" srcOrd="2" destOrd="0" presId="urn:microsoft.com/office/officeart/2008/layout/LinedList"/>
    <dgm:cxn modelId="{E33DB87F-99C5-4D7A-9F16-577AE4B8278C}" type="presParOf" srcId="{792793CB-E06C-4E75-AF0A-3026E4D5249F}" destId="{1F37052F-2A59-464B-AF0C-F33823A5E534}" srcOrd="14" destOrd="0" presId="urn:microsoft.com/office/officeart/2008/layout/LinedList"/>
    <dgm:cxn modelId="{E32553FC-9A87-411A-82BF-14FD9C6E42F8}" type="presParOf" srcId="{792793CB-E06C-4E75-AF0A-3026E4D5249F}" destId="{CDEE26A7-1F66-4B21-94E4-E814F7237898}" srcOrd="15" destOrd="0" presId="urn:microsoft.com/office/officeart/2008/layout/LinedList"/>
    <dgm:cxn modelId="{38D2E9BF-428A-4C88-8800-D86AD18E8231}" type="presParOf" srcId="{792793CB-E06C-4E75-AF0A-3026E4D5249F}" destId="{550779B5-C4A8-43B9-B139-7929B0AC1730}" srcOrd="16" destOrd="0" presId="urn:microsoft.com/office/officeart/2008/layout/LinedList"/>
    <dgm:cxn modelId="{1D450B9E-E7CB-463F-AEB2-101BE61DA2D2}" type="presParOf" srcId="{550779B5-C4A8-43B9-B139-7929B0AC1730}" destId="{6CC081A5-901F-4060-A247-73E574E463ED}" srcOrd="0" destOrd="0" presId="urn:microsoft.com/office/officeart/2008/layout/LinedList"/>
    <dgm:cxn modelId="{38698A85-3EF0-4E3B-A9E4-796324F06BF6}" type="presParOf" srcId="{550779B5-C4A8-43B9-B139-7929B0AC1730}" destId="{139CCFB1-68AB-4B5A-A85B-0A5909ED56E1}" srcOrd="1" destOrd="0" presId="urn:microsoft.com/office/officeart/2008/layout/LinedList"/>
    <dgm:cxn modelId="{49192C4A-27B6-4F54-BBEF-103282C01C4C}" type="presParOf" srcId="{550779B5-C4A8-43B9-B139-7929B0AC1730}" destId="{A8A14C10-26B1-4E6C-B925-A811029F1E3E}" srcOrd="2" destOrd="0" presId="urn:microsoft.com/office/officeart/2008/layout/LinedList"/>
    <dgm:cxn modelId="{AAFBE509-2D72-4DB0-880D-63BD2C3F5747}" type="presParOf" srcId="{792793CB-E06C-4E75-AF0A-3026E4D5249F}" destId="{A4CC175F-2E19-4E75-8BAF-83A3CCE222E8}" srcOrd="17" destOrd="0" presId="urn:microsoft.com/office/officeart/2008/layout/LinedList"/>
    <dgm:cxn modelId="{B8323B78-E2ED-4936-8DB8-FF88271C43FF}" type="presParOf" srcId="{792793CB-E06C-4E75-AF0A-3026E4D5249F}" destId="{E23F7EE3-12BB-468E-A840-D8110FB0A0E4}" srcOrd="1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1485F33-2A38-4E8E-920F-79CB5886DB1A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3DE5E33-D24F-4CF1-B9D3-CE9FE6587EE4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solidFill>
          <a:schemeClr val="accent1">
            <a:lumMod val="20000"/>
            <a:lumOff val="8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anchor="t"/>
        <a:lstStyle/>
        <a:p>
          <a:pPr marL="0" algn="l"/>
          <a:r>
            <a: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 </a:t>
          </a:r>
        </a:p>
        <a:p>
          <a:pPr marL="0" algn="ctr"/>
          <a:r>
            <a:rPr lang="ru-RU" sz="1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ЭТИЧНОСТЬ ПОВЕДЕНИЯ</a:t>
          </a:r>
        </a:p>
        <a:p>
          <a:pPr marL="0" algn="ctr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265113" indent="0" algn="l"/>
          <a:r>
            <a: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Это основа профессионализма </a:t>
          </a:r>
          <a:r>
            <a: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тветственность, неподкупность, умение хранить тайну и осмотрительность</a:t>
          </a:r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algn="l"/>
          <a:endParaRPr lang="ru-RU" sz="16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C5488B19-2ADE-43F9-8CFE-767C5ED8B9AE}" type="parTrans" cxnId="{FC0ACFE3-8A2E-4707-9A41-F9FAA63831D5}">
      <dgm:prSet/>
      <dgm:spPr/>
      <dgm:t>
        <a:bodyPr/>
        <a:lstStyle/>
        <a:p>
          <a:endParaRPr lang="ru-RU"/>
        </a:p>
      </dgm:t>
    </dgm:pt>
    <dgm:pt modelId="{EB9941A8-5011-48B4-9E20-90613873CF59}" type="sibTrans" cxnId="{FC0ACFE3-8A2E-4707-9A41-F9FAA63831D5}">
      <dgm:prSet/>
      <dgm:spPr/>
      <dgm:t>
        <a:bodyPr/>
        <a:lstStyle/>
        <a:p>
          <a:endParaRPr lang="ru-RU"/>
        </a:p>
      </dgm:t>
    </dgm:pt>
    <dgm:pt modelId="{5792AE9B-9E89-4E19-A57D-DA050CDCDF3E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 anchor="t"/>
        <a:lstStyle/>
        <a:p>
          <a:endParaRPr lang="ru-RU" sz="14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r>
            <a:rPr lang="ru-RU" sz="18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БЕСПРИСТРАСТНОСТЬ </a:t>
          </a:r>
        </a:p>
        <a:p>
          <a:endParaRPr lang="ru-RU" sz="14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gm:t>
    </dgm:pt>
    <dgm:pt modelId="{F2251C7B-32B6-476E-8D6C-9C7AB1054FE1}" type="parTrans" cxnId="{0D055E38-EF43-4750-8147-22373EEFF1D1}">
      <dgm:prSet/>
      <dgm:spPr/>
      <dgm:t>
        <a:bodyPr/>
        <a:lstStyle/>
        <a:p>
          <a:endParaRPr lang="ru-RU"/>
        </a:p>
      </dgm:t>
    </dgm:pt>
    <dgm:pt modelId="{7826CDF7-7F33-42B8-9638-5E07FDE26277}" type="sibTrans" cxnId="{0D055E38-EF43-4750-8147-22373EEFF1D1}">
      <dgm:prSet/>
      <dgm:spPr/>
      <dgm:t>
        <a:bodyPr/>
        <a:lstStyle/>
        <a:p>
          <a:endParaRPr lang="ru-RU"/>
        </a:p>
      </dgm:t>
    </dgm:pt>
    <dgm:pt modelId="{F772FCE3-C52A-4424-9D84-C5CFA9B434D9}">
      <dgm:prSet phldrT="[Текст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>
        <a:ln>
          <a:solidFill>
            <a:srgbClr val="002060"/>
          </a:solidFill>
        </a:ln>
      </dgm:spPr>
      <dgm:t>
        <a:bodyPr anchor="t"/>
        <a:lstStyle/>
        <a:p>
          <a:pPr marL="0" algn="ctr">
            <a:lnSpc>
              <a:spcPct val="100000"/>
            </a:lnSpc>
            <a:spcAft>
              <a:spcPct val="35000"/>
            </a:spcAft>
          </a:pPr>
          <a:r>
            <a:rPr lang="ru-RU" sz="16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ОФЕССИОНАЛЬНАЯ</a:t>
          </a:r>
        </a:p>
        <a:p>
          <a:pPr marL="0" algn="ctr">
            <a:lnSpc>
              <a:spcPct val="100000"/>
            </a:lnSpc>
            <a:spcAft>
              <a:spcPct val="35000"/>
            </a:spcAft>
          </a:pPr>
          <a:r>
            <a:rPr lang="ru-RU" sz="1600" b="1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КОМПЕТЕНТНОСТЬ   </a:t>
          </a:r>
        </a:p>
        <a:p>
          <a:pPr marL="0" algn="ctr">
            <a:lnSpc>
              <a:spcPct val="100000"/>
            </a:lnSpc>
            <a:spcAft>
              <a:spcPts val="0"/>
            </a:spcAft>
          </a:pPr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уровень образования</a:t>
          </a: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пыт работы</a:t>
          </a:r>
        </a:p>
        <a:p>
          <a:pPr marL="357188" indent="0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бучение на аудитора</a:t>
          </a:r>
        </a:p>
        <a:p>
          <a:pPr marL="447675" indent="-90488" algn="l">
            <a:lnSpc>
              <a:spcPct val="100000"/>
            </a:lnSpc>
            <a:spcAft>
              <a:spcPts val="0"/>
            </a:spcAft>
          </a:pP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дополнительное повышение </a:t>
          </a:r>
          <a:r>
            <a:rPr lang="en-US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</a:t>
          </a:r>
          <a:r>
            <a:rPr lang="ru-RU" sz="1400" b="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лификации                    </a:t>
          </a:r>
        </a:p>
      </dgm:t>
    </dgm:pt>
    <dgm:pt modelId="{5B694D5D-E1C5-48BB-9DE3-C0E90379F8DC}" type="parTrans" cxnId="{3882B5B9-5AF7-4F69-8445-077D30ABA0D1}">
      <dgm:prSet/>
      <dgm:spPr/>
      <dgm:t>
        <a:bodyPr/>
        <a:lstStyle/>
        <a:p>
          <a:endParaRPr lang="ru-RU"/>
        </a:p>
      </dgm:t>
    </dgm:pt>
    <dgm:pt modelId="{8D9F0F76-06FB-4ECE-9C2B-BC34429744C2}" type="sibTrans" cxnId="{3882B5B9-5AF7-4F69-8445-077D30ABA0D1}">
      <dgm:prSet/>
      <dgm:spPr/>
      <dgm:t>
        <a:bodyPr/>
        <a:lstStyle/>
        <a:p>
          <a:endParaRPr lang="ru-RU"/>
        </a:p>
      </dgm:t>
    </dgm:pt>
    <dgm:pt modelId="{AB9AA048-5390-47B9-92CD-76D98744CFFD}">
      <dgm:prSet phldrT="[Текст]" custT="1"/>
      <dgm:spPr>
        <a:solidFill>
          <a:schemeClr val="accent1">
            <a:lumMod val="20000"/>
            <a:lumOff val="8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anchor="t"/>
        <a:lstStyle/>
        <a:p>
          <a:endParaRPr lang="en-US" sz="1800" b="1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endParaRPr lang="ru-RU" sz="1400" b="1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gm:t>
    </dgm:pt>
    <dgm:pt modelId="{791E4D2E-5DE9-44E0-949A-F5C59AB41B05}" type="parTrans" cxnId="{BFEA9F42-02AF-4F53-9A9A-D9E9A0B64287}">
      <dgm:prSet/>
      <dgm:spPr/>
      <dgm:t>
        <a:bodyPr/>
        <a:lstStyle/>
        <a:p>
          <a:endParaRPr lang="ru-RU"/>
        </a:p>
      </dgm:t>
    </dgm:pt>
    <dgm:pt modelId="{A2A2FE36-B386-4137-BDF8-27F05781095D}" type="sibTrans" cxnId="{BFEA9F42-02AF-4F53-9A9A-D9E9A0B64287}">
      <dgm:prSet/>
      <dgm:spPr/>
      <dgm:t>
        <a:bodyPr/>
        <a:lstStyle/>
        <a:p>
          <a:endParaRPr lang="ru-RU"/>
        </a:p>
      </dgm:t>
    </dgm:pt>
    <dgm:pt modelId="{0F23A552-AF16-4D45-AB93-17A0EB02E419}" type="pres">
      <dgm:prSet presAssocID="{81485F33-2A38-4E8E-920F-79CB5886DB1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50F6B1-AA3E-481F-B8EE-1692302FCF89}" type="pres">
      <dgm:prSet presAssocID="{13DE5E33-D24F-4CF1-B9D3-CE9FE6587EE4}" presName="node" presStyleLbl="node1" presStyleIdx="0" presStyleCnt="4" custLinFactNeighborX="564" custLinFactNeighborY="-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0CCC34-A8B4-4AE6-AD4F-07EC4CFF6F3A}" type="pres">
      <dgm:prSet presAssocID="{EB9941A8-5011-48B4-9E20-90613873CF59}" presName="sibTrans" presStyleCnt="0"/>
      <dgm:spPr/>
    </dgm:pt>
    <dgm:pt modelId="{0CF15A94-6F3F-43F2-A186-4B9F6D88D18B}" type="pres">
      <dgm:prSet presAssocID="{5792AE9B-9E89-4E19-A57D-DA050CDCDF3E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996142-9E3E-4DC9-AFD7-2FABC6D6B552}" type="pres">
      <dgm:prSet presAssocID="{7826CDF7-7F33-42B8-9638-5E07FDE26277}" presName="sibTrans" presStyleCnt="0"/>
      <dgm:spPr/>
    </dgm:pt>
    <dgm:pt modelId="{731DA300-45A5-44A8-A0EF-C0806CB5C108}" type="pres">
      <dgm:prSet presAssocID="{F772FCE3-C52A-4424-9D84-C5CFA9B434D9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65A8819-A001-46C8-9BD5-4A066EE2B682}" type="pres">
      <dgm:prSet presAssocID="{8D9F0F76-06FB-4ECE-9C2B-BC34429744C2}" presName="sibTrans" presStyleCnt="0"/>
      <dgm:spPr/>
    </dgm:pt>
    <dgm:pt modelId="{3DA96B4E-75E9-4621-8B6C-F57B8EC052DE}" type="pres">
      <dgm:prSet presAssocID="{AB9AA048-5390-47B9-92CD-76D98744CFFD}" presName="node" presStyleLbl="node1" presStyleIdx="3" presStyleCnt="4" custLinFactNeighborX="911" custLinFactNeighborY="33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D055E38-EF43-4750-8147-22373EEFF1D1}" srcId="{81485F33-2A38-4E8E-920F-79CB5886DB1A}" destId="{5792AE9B-9E89-4E19-A57D-DA050CDCDF3E}" srcOrd="1" destOrd="0" parTransId="{F2251C7B-32B6-476E-8D6C-9C7AB1054FE1}" sibTransId="{7826CDF7-7F33-42B8-9638-5E07FDE26277}"/>
    <dgm:cxn modelId="{37544569-8122-49E8-9ACA-C8B52F53EC3D}" type="presOf" srcId="{5792AE9B-9E89-4E19-A57D-DA050CDCDF3E}" destId="{0CF15A94-6F3F-43F2-A186-4B9F6D88D18B}" srcOrd="0" destOrd="0" presId="urn:microsoft.com/office/officeart/2005/8/layout/default#1"/>
    <dgm:cxn modelId="{BFEA9F42-02AF-4F53-9A9A-D9E9A0B64287}" srcId="{81485F33-2A38-4E8E-920F-79CB5886DB1A}" destId="{AB9AA048-5390-47B9-92CD-76D98744CFFD}" srcOrd="3" destOrd="0" parTransId="{791E4D2E-5DE9-44E0-949A-F5C59AB41B05}" sibTransId="{A2A2FE36-B386-4137-BDF8-27F05781095D}"/>
    <dgm:cxn modelId="{A1585DDB-C46D-4E99-BEEC-ECF5DC519282}" type="presOf" srcId="{AB9AA048-5390-47B9-92CD-76D98744CFFD}" destId="{3DA96B4E-75E9-4621-8B6C-F57B8EC052DE}" srcOrd="0" destOrd="0" presId="urn:microsoft.com/office/officeart/2005/8/layout/default#1"/>
    <dgm:cxn modelId="{B39AD0B4-20F5-4ACF-97D9-912CF7412BDD}" type="presOf" srcId="{F772FCE3-C52A-4424-9D84-C5CFA9B434D9}" destId="{731DA300-45A5-44A8-A0EF-C0806CB5C108}" srcOrd="0" destOrd="0" presId="urn:microsoft.com/office/officeart/2005/8/layout/default#1"/>
    <dgm:cxn modelId="{FC0ACFE3-8A2E-4707-9A41-F9FAA63831D5}" srcId="{81485F33-2A38-4E8E-920F-79CB5886DB1A}" destId="{13DE5E33-D24F-4CF1-B9D3-CE9FE6587EE4}" srcOrd="0" destOrd="0" parTransId="{C5488B19-2ADE-43F9-8CFE-767C5ED8B9AE}" sibTransId="{EB9941A8-5011-48B4-9E20-90613873CF59}"/>
    <dgm:cxn modelId="{1E1504D9-FF73-4478-985F-37AF94E6BD9E}" type="presOf" srcId="{81485F33-2A38-4E8E-920F-79CB5886DB1A}" destId="{0F23A552-AF16-4D45-AB93-17A0EB02E419}" srcOrd="0" destOrd="0" presId="urn:microsoft.com/office/officeart/2005/8/layout/default#1"/>
    <dgm:cxn modelId="{E6EE0618-8556-49A4-88EF-D08154D7313B}" type="presOf" srcId="{13DE5E33-D24F-4CF1-B9D3-CE9FE6587EE4}" destId="{0A50F6B1-AA3E-481F-B8EE-1692302FCF89}" srcOrd="0" destOrd="0" presId="urn:microsoft.com/office/officeart/2005/8/layout/default#1"/>
    <dgm:cxn modelId="{3882B5B9-5AF7-4F69-8445-077D30ABA0D1}" srcId="{81485F33-2A38-4E8E-920F-79CB5886DB1A}" destId="{F772FCE3-C52A-4424-9D84-C5CFA9B434D9}" srcOrd="2" destOrd="0" parTransId="{5B694D5D-E1C5-48BB-9DE3-C0E90379F8DC}" sibTransId="{8D9F0F76-06FB-4ECE-9C2B-BC34429744C2}"/>
    <dgm:cxn modelId="{A7E8992C-9066-40C6-9B50-2CACF02CD326}" type="presParOf" srcId="{0F23A552-AF16-4D45-AB93-17A0EB02E419}" destId="{0A50F6B1-AA3E-481F-B8EE-1692302FCF89}" srcOrd="0" destOrd="0" presId="urn:microsoft.com/office/officeart/2005/8/layout/default#1"/>
    <dgm:cxn modelId="{26DBBD62-F06B-48E3-AC90-4EDE61E63588}" type="presParOf" srcId="{0F23A552-AF16-4D45-AB93-17A0EB02E419}" destId="{7F0CCC34-A8B4-4AE6-AD4F-07EC4CFF6F3A}" srcOrd="1" destOrd="0" presId="urn:microsoft.com/office/officeart/2005/8/layout/default#1"/>
    <dgm:cxn modelId="{6A6C1238-98C7-4188-8E42-881EB503BC9F}" type="presParOf" srcId="{0F23A552-AF16-4D45-AB93-17A0EB02E419}" destId="{0CF15A94-6F3F-43F2-A186-4B9F6D88D18B}" srcOrd="2" destOrd="0" presId="urn:microsoft.com/office/officeart/2005/8/layout/default#1"/>
    <dgm:cxn modelId="{8C2B3875-4B28-4961-8AF9-C80DD4F4FE5F}" type="presParOf" srcId="{0F23A552-AF16-4D45-AB93-17A0EB02E419}" destId="{80996142-9E3E-4DC9-AFD7-2FABC6D6B552}" srcOrd="3" destOrd="0" presId="urn:microsoft.com/office/officeart/2005/8/layout/default#1"/>
    <dgm:cxn modelId="{E8F204E6-8334-4A30-8DEC-B8E8A2160946}" type="presParOf" srcId="{0F23A552-AF16-4D45-AB93-17A0EB02E419}" destId="{731DA300-45A5-44A8-A0EF-C0806CB5C108}" srcOrd="4" destOrd="0" presId="urn:microsoft.com/office/officeart/2005/8/layout/default#1"/>
    <dgm:cxn modelId="{CA6656E4-996C-47E5-BD1F-749B105EA526}" type="presParOf" srcId="{0F23A552-AF16-4D45-AB93-17A0EB02E419}" destId="{A65A8819-A001-46C8-9BD5-4A066EE2B682}" srcOrd="5" destOrd="0" presId="urn:microsoft.com/office/officeart/2005/8/layout/default#1"/>
    <dgm:cxn modelId="{7E9B2D38-8321-4B8B-BCD4-46F59095B463}" type="presParOf" srcId="{0F23A552-AF16-4D45-AB93-17A0EB02E419}" destId="{3DA96B4E-75E9-4621-8B6C-F57B8EC052DE}" srcOrd="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3812801-9946-44E4-935A-EE32BEB2B683}" type="doc">
      <dgm:prSet loTypeId="urn:microsoft.com/office/officeart/2008/layout/IncreasingCircleProces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8411BEC-C001-452C-ACCE-ACDD0283CE5A}">
      <dgm:prSet phldrT="[Текст]" custT="1"/>
      <dgm:spPr/>
      <dgm:t>
        <a:bodyPr/>
        <a:lstStyle/>
        <a:p>
          <a:endParaRPr lang="ru-R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6A4DF43-640D-4FAF-B6A6-42795E61FCF5}" type="parTrans" cxnId="{04586A81-F934-42EB-BE38-1BFCDB5EC1A4}">
      <dgm:prSet/>
      <dgm:spPr/>
      <dgm:t>
        <a:bodyPr/>
        <a:lstStyle/>
        <a:p>
          <a:endParaRPr lang="ru-RU"/>
        </a:p>
      </dgm:t>
    </dgm:pt>
    <dgm:pt modelId="{3434AE22-34B9-4AC9-BF60-1D54F7EB9567}" type="sibTrans" cxnId="{04586A81-F934-42EB-BE38-1BFCDB5EC1A4}">
      <dgm:prSet/>
      <dgm:spPr/>
      <dgm:t>
        <a:bodyPr/>
        <a:lstStyle/>
        <a:p>
          <a:endParaRPr lang="ru-RU"/>
        </a:p>
      </dgm:t>
    </dgm:pt>
    <dgm:pt modelId="{7956502B-7CBC-4324-A695-D821E0747708}">
      <dgm:prSet phldrT="[Текст]" custT="1"/>
      <dgm:spPr/>
      <dgm:t>
        <a:bodyPr/>
        <a:lstStyle/>
        <a:p>
          <a:endParaRPr lang="ru-RU" sz="14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16FE475-6496-443A-B0A7-C1D6DEB0A7AC}" type="parTrans" cxnId="{C269A8BC-4089-4980-92D4-597610077781}">
      <dgm:prSet/>
      <dgm:spPr/>
      <dgm:t>
        <a:bodyPr/>
        <a:lstStyle/>
        <a:p>
          <a:endParaRPr lang="ru-RU"/>
        </a:p>
      </dgm:t>
    </dgm:pt>
    <dgm:pt modelId="{6A2FAD41-2EA1-4B9E-84CA-815D3B97F834}" type="sibTrans" cxnId="{C269A8BC-4089-4980-92D4-597610077781}">
      <dgm:prSet/>
      <dgm:spPr/>
      <dgm:t>
        <a:bodyPr/>
        <a:lstStyle/>
        <a:p>
          <a:endParaRPr lang="ru-RU"/>
        </a:p>
      </dgm:t>
    </dgm:pt>
    <dgm:pt modelId="{A92C6204-3359-49BA-ACA4-07B8C098D392}">
      <dgm:prSet phldrT="[Текст]" custT="1"/>
      <dgm:spPr/>
      <dgm:t>
        <a:bodyPr/>
        <a:lstStyle/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778B46-BD7D-4532-951E-C1B5CA1ABA9C}" type="parTrans" cxnId="{08AF5D4D-DEE2-40D7-90DF-B6D18C9AEC95}">
      <dgm:prSet/>
      <dgm:spPr/>
      <dgm:t>
        <a:bodyPr/>
        <a:lstStyle/>
        <a:p>
          <a:endParaRPr lang="ru-RU"/>
        </a:p>
      </dgm:t>
    </dgm:pt>
    <dgm:pt modelId="{143DDCBE-DC67-44D4-81DF-45D4F7CB079D}" type="sibTrans" cxnId="{08AF5D4D-DEE2-40D7-90DF-B6D18C9AEC95}">
      <dgm:prSet/>
      <dgm:spPr/>
      <dgm:t>
        <a:bodyPr/>
        <a:lstStyle/>
        <a:p>
          <a:endParaRPr lang="ru-RU"/>
        </a:p>
      </dgm:t>
    </dgm:pt>
    <dgm:pt modelId="{F9BDB26B-F31D-4E9E-A260-F9B414A5ACE6}">
      <dgm:prSet phldrT="[Текст]" custT="1"/>
      <dgm:spPr/>
      <dgm:t>
        <a:bodyPr/>
        <a:lstStyle/>
        <a:p>
          <a:pPr algn="ctr"/>
          <a:endParaRPr lang="ru-RU" sz="12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15FDF4-42C2-47E8-8498-A1E9F8C350DA}" type="parTrans" cxnId="{D715075C-487A-4952-8C14-5C7C0AAE9CCA}">
      <dgm:prSet/>
      <dgm:spPr/>
      <dgm:t>
        <a:bodyPr/>
        <a:lstStyle/>
        <a:p>
          <a:endParaRPr lang="ru-RU"/>
        </a:p>
      </dgm:t>
    </dgm:pt>
    <dgm:pt modelId="{6D75F20D-EE13-45FB-8B75-ECC69401CF43}" type="sibTrans" cxnId="{D715075C-487A-4952-8C14-5C7C0AAE9CCA}">
      <dgm:prSet/>
      <dgm:spPr/>
      <dgm:t>
        <a:bodyPr/>
        <a:lstStyle/>
        <a:p>
          <a:endParaRPr lang="ru-RU"/>
        </a:p>
      </dgm:t>
    </dgm:pt>
    <dgm:pt modelId="{FE89B912-E608-426E-9047-4C7697B93958}">
      <dgm:prSet phldrT="[Текст]" custT="1"/>
      <dgm:spPr/>
      <dgm:t>
        <a:bodyPr/>
        <a:lstStyle/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аключительное заседание аудиторской группы</a:t>
          </a:r>
        </a:p>
        <a:p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Формирование протокола проверки</a:t>
          </a:r>
        </a:p>
        <a:p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зработка корректирующих или предупреждающих действий</a:t>
          </a:r>
        </a:p>
      </dgm:t>
    </dgm:pt>
    <dgm:pt modelId="{C11B3129-D5CB-41F1-9663-269A82167A75}" type="parTrans" cxnId="{877E2F05-9AA2-4062-8221-95349FA13A9A}">
      <dgm:prSet/>
      <dgm:spPr/>
      <dgm:t>
        <a:bodyPr/>
        <a:lstStyle/>
        <a:p>
          <a:endParaRPr lang="ru-RU"/>
        </a:p>
      </dgm:t>
    </dgm:pt>
    <dgm:pt modelId="{AD35FF9F-B365-4A38-9E6F-D246221ADEAD}" type="sibTrans" cxnId="{877E2F05-9AA2-4062-8221-95349FA13A9A}">
      <dgm:prSet/>
      <dgm:spPr/>
      <dgm:t>
        <a:bodyPr/>
        <a:lstStyle/>
        <a:p>
          <a:endParaRPr lang="ru-RU"/>
        </a:p>
      </dgm:t>
    </dgm:pt>
    <dgm:pt modelId="{B45EDC32-6D0F-4705-B7A7-E76F7265AC41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едварительное заседание аудиторской группы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05154AE-F7AA-498D-B6A8-88570A9193BE}" type="parTrans" cxnId="{B0FCABF9-D360-4F20-AA00-A9F7060288D6}">
      <dgm:prSet/>
      <dgm:spPr/>
      <dgm:t>
        <a:bodyPr/>
        <a:lstStyle/>
        <a:p>
          <a:endParaRPr lang="ru-RU"/>
        </a:p>
      </dgm:t>
    </dgm:pt>
    <dgm:pt modelId="{403D195C-3A5F-4FB8-837E-FC7F643C7E0F}" type="sibTrans" cxnId="{B0FCABF9-D360-4F20-AA00-A9F7060288D6}">
      <dgm:prSet/>
      <dgm:spPr/>
      <dgm:t>
        <a:bodyPr/>
        <a:lstStyle/>
        <a:p>
          <a:endParaRPr lang="ru-RU"/>
        </a:p>
      </dgm:t>
    </dgm:pt>
    <dgm:pt modelId="{B9611150-5839-468A-B18F-947D7FB2ED76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спределение ответственности между членами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2831A2-AF7A-4EEC-B55A-8C3459C63588}" type="parTrans" cxnId="{C66FCEE4-DE21-4A0C-802F-80BC9B16AC73}">
      <dgm:prSet/>
      <dgm:spPr/>
      <dgm:t>
        <a:bodyPr/>
        <a:lstStyle/>
        <a:p>
          <a:endParaRPr lang="ru-RU"/>
        </a:p>
      </dgm:t>
    </dgm:pt>
    <dgm:pt modelId="{4142BCD1-3E50-49A7-BF89-E5BF63FCAE05}" type="sibTrans" cxnId="{C66FCEE4-DE21-4A0C-802F-80BC9B16AC73}">
      <dgm:prSet/>
      <dgm:spPr/>
      <dgm:t>
        <a:bodyPr/>
        <a:lstStyle/>
        <a:p>
          <a:endParaRPr lang="ru-RU"/>
        </a:p>
      </dgm:t>
    </dgm:pt>
    <dgm:pt modelId="{2FD05F67-92E5-4939-9B00-32E4BF65E85A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предыдущих результатов аудита</a:t>
          </a:r>
        </a:p>
        <a:p>
          <a:pPr>
            <a:buFont typeface="Arial" panose="020B0604020202020204" pitchFamily="34" charset="0"/>
            <a:buChar char="•"/>
          </a:pPr>
          <a:endParaRPr lang="ru-RU" sz="14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4DA6CD-A9F9-4D2B-852E-1B9C1593F14D}" type="parTrans" cxnId="{B1FEE492-E825-49E0-A51F-6403ED18E687}">
      <dgm:prSet/>
      <dgm:spPr/>
      <dgm:t>
        <a:bodyPr/>
        <a:lstStyle/>
        <a:p>
          <a:endParaRPr lang="ru-RU"/>
        </a:p>
      </dgm:t>
    </dgm:pt>
    <dgm:pt modelId="{BB661B99-2545-4BAD-8532-DD93FDDE17A8}" type="sibTrans" cxnId="{B1FEE492-E825-49E0-A51F-6403ED18E687}">
      <dgm:prSet/>
      <dgm:spPr/>
      <dgm:t>
        <a:bodyPr/>
        <a:lstStyle/>
        <a:p>
          <a:endParaRPr lang="ru-RU"/>
        </a:p>
      </dgm:t>
    </dgm:pt>
    <dgm:pt modelId="{54ABA80C-B11E-44DD-81D3-8B8386A8AB05}">
      <dgm:prSet phldrT="[Текст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зменения законодательства</a:t>
          </a:r>
        </a:p>
      </dgm:t>
    </dgm:pt>
    <dgm:pt modelId="{9BFE784C-E41B-4309-A457-9B5178A0D892}" type="parTrans" cxnId="{138666BB-3885-40E9-8219-363855172A3C}">
      <dgm:prSet/>
      <dgm:spPr/>
      <dgm:t>
        <a:bodyPr/>
        <a:lstStyle/>
        <a:p>
          <a:endParaRPr lang="ru-RU"/>
        </a:p>
      </dgm:t>
    </dgm:pt>
    <dgm:pt modelId="{B91465A3-83FE-4B9A-8E23-7826CD813478}" type="sibTrans" cxnId="{138666BB-3885-40E9-8219-363855172A3C}">
      <dgm:prSet/>
      <dgm:spPr/>
      <dgm:t>
        <a:bodyPr/>
        <a:lstStyle/>
        <a:p>
          <a:endParaRPr lang="ru-RU"/>
        </a:p>
      </dgm:t>
    </dgm:pt>
    <dgm:pt modelId="{E54E4072-8ACF-4681-A1E9-1B95102F3E9F}">
      <dgm:prSet phldrT="[Текст]" custT="1"/>
      <dgm:spPr/>
      <dgm:t>
        <a:bodyPr/>
        <a:lstStyle/>
        <a:p>
          <a:r>
            <a: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спользование    чек-листов</a:t>
          </a:r>
        </a:p>
      </dgm:t>
    </dgm:pt>
    <dgm:pt modelId="{4E92B8BC-B707-4E5D-9A32-DC0440D3D5D2}" type="parTrans" cxnId="{4F259BD6-AC93-4049-9A7B-87D24C4EF073}">
      <dgm:prSet/>
      <dgm:spPr/>
      <dgm:t>
        <a:bodyPr/>
        <a:lstStyle/>
        <a:p>
          <a:endParaRPr lang="ru-RU"/>
        </a:p>
      </dgm:t>
    </dgm:pt>
    <dgm:pt modelId="{638F5779-52DD-433E-8D67-0EB8DE06427B}" type="sibTrans" cxnId="{4F259BD6-AC93-4049-9A7B-87D24C4EF073}">
      <dgm:prSet/>
      <dgm:spPr/>
      <dgm:t>
        <a:bodyPr/>
        <a:lstStyle/>
        <a:p>
          <a:endParaRPr lang="ru-RU"/>
        </a:p>
      </dgm:t>
    </dgm:pt>
    <dgm:pt modelId="{F13CB9CD-6397-4541-B259-2BC7F2CC8A04}" type="pres">
      <dgm:prSet presAssocID="{B3812801-9946-44E4-935A-EE32BEB2B683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ACB76684-4C83-4FB5-9E0C-EC57F55B214E}" type="pres">
      <dgm:prSet presAssocID="{48411BEC-C001-452C-ACCE-ACDD0283CE5A}" presName="composite" presStyleCnt="0"/>
      <dgm:spPr/>
    </dgm:pt>
    <dgm:pt modelId="{D579BE47-F78E-4BBD-9448-E9BD729A51DF}" type="pres">
      <dgm:prSet presAssocID="{48411BEC-C001-452C-ACCE-ACDD0283CE5A}" presName="BackAccent" presStyleLbl="bgShp" presStyleIdx="0" presStyleCnt="3" custLinFactNeighborY="14592"/>
      <dgm:spPr/>
    </dgm:pt>
    <dgm:pt modelId="{BB842F2E-0451-45A8-81DE-2D20DAA3A091}" type="pres">
      <dgm:prSet presAssocID="{48411BEC-C001-452C-ACCE-ACDD0283CE5A}" presName="Accent" presStyleLbl="alignNode1" presStyleIdx="0" presStyleCnt="3" custLinFactNeighborY="18239"/>
      <dgm:spPr>
        <a:solidFill>
          <a:srgbClr val="002060"/>
        </a:solidFill>
        <a:ln>
          <a:solidFill>
            <a:srgbClr val="002060"/>
          </a:solidFill>
        </a:ln>
      </dgm:spPr>
    </dgm:pt>
    <dgm:pt modelId="{FC71D0D1-DFD4-4389-B4B3-36765D0B2B9E}" type="pres">
      <dgm:prSet presAssocID="{48411BEC-C001-452C-ACCE-ACDD0283CE5A}" presName="Child" presStyleLbl="revTx" presStyleIdx="0" presStyleCnt="6" custScaleX="116500" custScaleY="116287" custLinFactNeighborX="-7352" custLinFactNeighborY="2609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3BE2D5-CBF4-48E2-BA7E-072613E45E8C}" type="pres">
      <dgm:prSet presAssocID="{48411BEC-C001-452C-ACCE-ACDD0283CE5A}" presName="Parent" presStyleLbl="revTx" presStyleIdx="1" presStyleCnt="6" custScaleX="120758" custLinFactNeighborX="-61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BC78C7-4FA3-441B-B732-7948D8532F11}" type="pres">
      <dgm:prSet presAssocID="{3434AE22-34B9-4AC9-BF60-1D54F7EB9567}" presName="sibTrans" presStyleCnt="0"/>
      <dgm:spPr/>
    </dgm:pt>
    <dgm:pt modelId="{AFB2F573-C87F-4364-A241-748974EC6060}" type="pres">
      <dgm:prSet presAssocID="{7956502B-7CBC-4324-A695-D821E0747708}" presName="composite" presStyleCnt="0"/>
      <dgm:spPr/>
    </dgm:pt>
    <dgm:pt modelId="{D48344F7-29CA-4876-B8B5-D5D3C4BB7928}" type="pres">
      <dgm:prSet presAssocID="{7956502B-7CBC-4324-A695-D821E0747708}" presName="BackAccent" presStyleLbl="bgShp" presStyleIdx="1" presStyleCnt="3"/>
      <dgm:spPr/>
    </dgm:pt>
    <dgm:pt modelId="{15D009F6-1C43-4434-9529-279F168DBCF9}" type="pres">
      <dgm:prSet presAssocID="{7956502B-7CBC-4324-A695-D821E0747708}" presName="Accent" presStyleLbl="alignNode1" presStyleIdx="1" presStyleCnt="3"/>
      <dgm:spPr>
        <a:solidFill>
          <a:srgbClr val="002060"/>
        </a:solidFill>
        <a:ln>
          <a:solidFill>
            <a:srgbClr val="002060"/>
          </a:solidFill>
        </a:ln>
      </dgm:spPr>
    </dgm:pt>
    <dgm:pt modelId="{2B047AFF-E7D0-41DA-9284-DC4EF7B210D5}" type="pres">
      <dgm:prSet presAssocID="{7956502B-7CBC-4324-A695-D821E0747708}" presName="Child" presStyleLbl="revTx" presStyleIdx="2" presStyleCnt="6" custLinFactNeighborX="-5374" custLinFactNeighborY="126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440760-A6FE-4892-96EB-9B5D269ADA04}" type="pres">
      <dgm:prSet presAssocID="{7956502B-7CBC-4324-A695-D821E0747708}" presName="Parent" presStyleLbl="revTx" presStyleIdx="3" presStyleCnt="6" custScaleY="44105" custLinFactNeighborX="1577" custLinFactNeighborY="-4328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933BD0-78E0-44F3-A259-32036F4EF981}" type="pres">
      <dgm:prSet presAssocID="{6A2FAD41-2EA1-4B9E-84CA-815D3B97F834}" presName="sibTrans" presStyleCnt="0"/>
      <dgm:spPr/>
    </dgm:pt>
    <dgm:pt modelId="{4DA92AF7-E701-40FD-A8E4-4D1F120CFFC7}" type="pres">
      <dgm:prSet presAssocID="{F9BDB26B-F31D-4E9E-A260-F9B414A5ACE6}" presName="composite" presStyleCnt="0"/>
      <dgm:spPr/>
    </dgm:pt>
    <dgm:pt modelId="{02065A23-08D3-4334-90B0-BA615B773B22}" type="pres">
      <dgm:prSet presAssocID="{F9BDB26B-F31D-4E9E-A260-F9B414A5ACE6}" presName="BackAccent" presStyleLbl="bgShp" presStyleIdx="2" presStyleCnt="3"/>
      <dgm:spPr/>
    </dgm:pt>
    <dgm:pt modelId="{FD6B0E31-027C-40DA-8380-F2C4F9B42497}" type="pres">
      <dgm:prSet presAssocID="{F9BDB26B-F31D-4E9E-A260-F9B414A5ACE6}" presName="Accent" presStyleLbl="alignNode1" presStyleIdx="2" presStyleCnt="3"/>
      <dgm:spPr>
        <a:solidFill>
          <a:srgbClr val="002060"/>
        </a:solidFill>
        <a:ln>
          <a:solidFill>
            <a:srgbClr val="002060"/>
          </a:solidFill>
        </a:ln>
      </dgm:spPr>
    </dgm:pt>
    <dgm:pt modelId="{9EC9924B-2B73-4931-A958-948EA0B9E616}" type="pres">
      <dgm:prSet presAssocID="{F9BDB26B-F31D-4E9E-A260-F9B414A5ACE6}" presName="Child" presStyleLbl="revTx" presStyleIdx="4" presStyleCnt="6" custLinFactNeighborX="-3884" custLinFactNeighborY="1101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A619F5-AF59-48C2-8FA0-902B99DF7363}" type="pres">
      <dgm:prSet presAssocID="{F9BDB26B-F31D-4E9E-A260-F9B414A5ACE6}" presName="Parent" presStyleLbl="revTx" presStyleIdx="5" presStyleCnt="6" custScaleX="100990" custScaleY="62936" custLinFactNeighborX="-7962" custLinFactNeighborY="-895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91A44EE-4DE0-48C1-86C5-2171600C6832}" type="presOf" srcId="{2FD05F67-92E5-4939-9B00-32E4BF65E85A}" destId="{FC71D0D1-DFD4-4389-B4B3-36765D0B2B9E}" srcOrd="0" destOrd="2" presId="urn:microsoft.com/office/officeart/2008/layout/IncreasingCircleProcess"/>
    <dgm:cxn modelId="{C66FCEE4-DE21-4A0C-802F-80BC9B16AC73}" srcId="{48411BEC-C001-452C-ACCE-ACDD0283CE5A}" destId="{B9611150-5839-468A-B18F-947D7FB2ED76}" srcOrd="1" destOrd="0" parTransId="{AF2831A2-AF7A-4EEC-B55A-8C3459C63588}" sibTransId="{4142BCD1-3E50-49A7-BF89-E5BF63FCAE05}"/>
    <dgm:cxn modelId="{43DBDD44-8209-40FA-8AD7-C6691337BCCA}" type="presOf" srcId="{7956502B-7CBC-4324-A695-D821E0747708}" destId="{D9440760-A6FE-4892-96EB-9B5D269ADA04}" srcOrd="0" destOrd="0" presId="urn:microsoft.com/office/officeart/2008/layout/IncreasingCircleProcess"/>
    <dgm:cxn modelId="{1F362B29-05B7-4A62-B887-89A33E39D522}" type="presOf" srcId="{F9BDB26B-F31D-4E9E-A260-F9B414A5ACE6}" destId="{6DA619F5-AF59-48C2-8FA0-902B99DF7363}" srcOrd="0" destOrd="0" presId="urn:microsoft.com/office/officeart/2008/layout/IncreasingCircleProcess"/>
    <dgm:cxn modelId="{C269A8BC-4089-4980-92D4-597610077781}" srcId="{B3812801-9946-44E4-935A-EE32BEB2B683}" destId="{7956502B-7CBC-4324-A695-D821E0747708}" srcOrd="1" destOrd="0" parTransId="{116FE475-6496-443A-B0A7-C1D6DEB0A7AC}" sibTransId="{6A2FAD41-2EA1-4B9E-84CA-815D3B97F834}"/>
    <dgm:cxn modelId="{08AF5D4D-DEE2-40D7-90DF-B6D18C9AEC95}" srcId="{7956502B-7CBC-4324-A695-D821E0747708}" destId="{A92C6204-3359-49BA-ACA4-07B8C098D392}" srcOrd="0" destOrd="0" parTransId="{59778B46-BD7D-4532-951E-C1B5CA1ABA9C}" sibTransId="{143DDCBE-DC67-44D4-81DF-45D4F7CB079D}"/>
    <dgm:cxn modelId="{E8298B84-4C74-4CBE-BF97-99A7C373BFCB}" type="presOf" srcId="{B3812801-9946-44E4-935A-EE32BEB2B683}" destId="{F13CB9CD-6397-4541-B259-2BC7F2CC8A04}" srcOrd="0" destOrd="0" presId="urn:microsoft.com/office/officeart/2008/layout/IncreasingCircleProcess"/>
    <dgm:cxn modelId="{3BD05FBA-84AE-4D03-8BE9-A68179EDE46E}" type="presOf" srcId="{A92C6204-3359-49BA-ACA4-07B8C098D392}" destId="{2B047AFF-E7D0-41DA-9284-DC4EF7B210D5}" srcOrd="0" destOrd="0" presId="urn:microsoft.com/office/officeart/2008/layout/IncreasingCircleProcess"/>
    <dgm:cxn modelId="{B96D9D28-81CE-482E-AE7F-258EA0863DC1}" type="presOf" srcId="{48411BEC-C001-452C-ACCE-ACDD0283CE5A}" destId="{C33BE2D5-CBF4-48E2-BA7E-072613E45E8C}" srcOrd="0" destOrd="0" presId="urn:microsoft.com/office/officeart/2008/layout/IncreasingCircleProcess"/>
    <dgm:cxn modelId="{0D17BC93-B5EF-4349-963C-3C71922D68B7}" type="presOf" srcId="{E54E4072-8ACF-4681-A1E9-1B95102F3E9F}" destId="{2B047AFF-E7D0-41DA-9284-DC4EF7B210D5}" srcOrd="0" destOrd="1" presId="urn:microsoft.com/office/officeart/2008/layout/IncreasingCircleProcess"/>
    <dgm:cxn modelId="{B1FEE492-E825-49E0-A51F-6403ED18E687}" srcId="{48411BEC-C001-452C-ACCE-ACDD0283CE5A}" destId="{2FD05F67-92E5-4939-9B00-32E4BF65E85A}" srcOrd="2" destOrd="0" parTransId="{744DA6CD-A9F9-4D2B-852E-1B9C1593F14D}" sibTransId="{BB661B99-2545-4BAD-8532-DD93FDDE17A8}"/>
    <dgm:cxn modelId="{4F259BD6-AC93-4049-9A7B-87D24C4EF073}" srcId="{7956502B-7CBC-4324-A695-D821E0747708}" destId="{E54E4072-8ACF-4681-A1E9-1B95102F3E9F}" srcOrd="1" destOrd="0" parTransId="{4E92B8BC-B707-4E5D-9A32-DC0440D3D5D2}" sibTransId="{638F5779-52DD-433E-8D67-0EB8DE06427B}"/>
    <dgm:cxn modelId="{04586A81-F934-42EB-BE38-1BFCDB5EC1A4}" srcId="{B3812801-9946-44E4-935A-EE32BEB2B683}" destId="{48411BEC-C001-452C-ACCE-ACDD0283CE5A}" srcOrd="0" destOrd="0" parTransId="{A6A4DF43-640D-4FAF-B6A6-42795E61FCF5}" sibTransId="{3434AE22-34B9-4AC9-BF60-1D54F7EB9567}"/>
    <dgm:cxn modelId="{138666BB-3885-40E9-8219-363855172A3C}" srcId="{48411BEC-C001-452C-ACCE-ACDD0283CE5A}" destId="{54ABA80C-B11E-44DD-81D3-8B8386A8AB05}" srcOrd="3" destOrd="0" parTransId="{9BFE784C-E41B-4309-A457-9B5178A0D892}" sibTransId="{B91465A3-83FE-4B9A-8E23-7826CD813478}"/>
    <dgm:cxn modelId="{877E2F05-9AA2-4062-8221-95349FA13A9A}" srcId="{F9BDB26B-F31D-4E9E-A260-F9B414A5ACE6}" destId="{FE89B912-E608-426E-9047-4C7697B93958}" srcOrd="0" destOrd="0" parTransId="{C11B3129-D5CB-41F1-9663-269A82167A75}" sibTransId="{AD35FF9F-B365-4A38-9E6F-D246221ADEAD}"/>
    <dgm:cxn modelId="{B0FCABF9-D360-4F20-AA00-A9F7060288D6}" srcId="{48411BEC-C001-452C-ACCE-ACDD0283CE5A}" destId="{B45EDC32-6D0F-4705-B7A7-E76F7265AC41}" srcOrd="0" destOrd="0" parTransId="{F05154AE-F7AA-498D-B6A8-88570A9193BE}" sibTransId="{403D195C-3A5F-4FB8-837E-FC7F643C7E0F}"/>
    <dgm:cxn modelId="{A8897ACC-C8EA-430C-A093-B3495E4E932F}" type="presOf" srcId="{FE89B912-E608-426E-9047-4C7697B93958}" destId="{9EC9924B-2B73-4931-A958-948EA0B9E616}" srcOrd="0" destOrd="0" presId="urn:microsoft.com/office/officeart/2008/layout/IncreasingCircleProcess"/>
    <dgm:cxn modelId="{C78A111C-11B8-44EB-BBF1-2303CE4E1FDB}" type="presOf" srcId="{54ABA80C-B11E-44DD-81D3-8B8386A8AB05}" destId="{FC71D0D1-DFD4-4389-B4B3-36765D0B2B9E}" srcOrd="0" destOrd="3" presId="urn:microsoft.com/office/officeart/2008/layout/IncreasingCircleProcess"/>
    <dgm:cxn modelId="{6DB9C2CD-BE26-499D-BF39-4D54E14CB6F3}" type="presOf" srcId="{B9611150-5839-468A-B18F-947D7FB2ED76}" destId="{FC71D0D1-DFD4-4389-B4B3-36765D0B2B9E}" srcOrd="0" destOrd="1" presId="urn:microsoft.com/office/officeart/2008/layout/IncreasingCircleProcess"/>
    <dgm:cxn modelId="{D715075C-487A-4952-8C14-5C7C0AAE9CCA}" srcId="{B3812801-9946-44E4-935A-EE32BEB2B683}" destId="{F9BDB26B-F31D-4E9E-A260-F9B414A5ACE6}" srcOrd="2" destOrd="0" parTransId="{3E15FDF4-42C2-47E8-8498-A1E9F8C350DA}" sibTransId="{6D75F20D-EE13-45FB-8B75-ECC69401CF43}"/>
    <dgm:cxn modelId="{6C5E9506-8046-48DA-8DFC-1979CDBD09EF}" type="presOf" srcId="{B45EDC32-6D0F-4705-B7A7-E76F7265AC41}" destId="{FC71D0D1-DFD4-4389-B4B3-36765D0B2B9E}" srcOrd="0" destOrd="0" presId="urn:microsoft.com/office/officeart/2008/layout/IncreasingCircleProcess"/>
    <dgm:cxn modelId="{20F70F9F-E1DE-482E-A901-1884E34455FD}" type="presParOf" srcId="{F13CB9CD-6397-4541-B259-2BC7F2CC8A04}" destId="{ACB76684-4C83-4FB5-9E0C-EC57F55B214E}" srcOrd="0" destOrd="0" presId="urn:microsoft.com/office/officeart/2008/layout/IncreasingCircleProcess"/>
    <dgm:cxn modelId="{6D544681-69B3-45B2-813C-EAE7BC9EDFA0}" type="presParOf" srcId="{ACB76684-4C83-4FB5-9E0C-EC57F55B214E}" destId="{D579BE47-F78E-4BBD-9448-E9BD729A51DF}" srcOrd="0" destOrd="0" presId="urn:microsoft.com/office/officeart/2008/layout/IncreasingCircleProcess"/>
    <dgm:cxn modelId="{6D3AB129-E162-4026-A645-9DA40C012522}" type="presParOf" srcId="{ACB76684-4C83-4FB5-9E0C-EC57F55B214E}" destId="{BB842F2E-0451-45A8-81DE-2D20DAA3A091}" srcOrd="1" destOrd="0" presId="urn:microsoft.com/office/officeart/2008/layout/IncreasingCircleProcess"/>
    <dgm:cxn modelId="{F5F804C3-77F5-4B24-BABE-BE1807774F62}" type="presParOf" srcId="{ACB76684-4C83-4FB5-9E0C-EC57F55B214E}" destId="{FC71D0D1-DFD4-4389-B4B3-36765D0B2B9E}" srcOrd="2" destOrd="0" presId="urn:microsoft.com/office/officeart/2008/layout/IncreasingCircleProcess"/>
    <dgm:cxn modelId="{B1078D90-20CE-42E7-A40B-446391B56DA8}" type="presParOf" srcId="{ACB76684-4C83-4FB5-9E0C-EC57F55B214E}" destId="{C33BE2D5-CBF4-48E2-BA7E-072613E45E8C}" srcOrd="3" destOrd="0" presId="urn:microsoft.com/office/officeart/2008/layout/IncreasingCircleProcess"/>
    <dgm:cxn modelId="{E814AA11-8F61-469F-ACC2-F353B0CC3192}" type="presParOf" srcId="{F13CB9CD-6397-4541-B259-2BC7F2CC8A04}" destId="{5BBC78C7-4FA3-441B-B732-7948D8532F11}" srcOrd="1" destOrd="0" presId="urn:microsoft.com/office/officeart/2008/layout/IncreasingCircleProcess"/>
    <dgm:cxn modelId="{C46EFC18-8C6D-4E8A-AA43-1C62D82C6D81}" type="presParOf" srcId="{F13CB9CD-6397-4541-B259-2BC7F2CC8A04}" destId="{AFB2F573-C87F-4364-A241-748974EC6060}" srcOrd="2" destOrd="0" presId="urn:microsoft.com/office/officeart/2008/layout/IncreasingCircleProcess"/>
    <dgm:cxn modelId="{969C3C63-DB62-49E4-B479-379513EAEA5B}" type="presParOf" srcId="{AFB2F573-C87F-4364-A241-748974EC6060}" destId="{D48344F7-29CA-4876-B8B5-D5D3C4BB7928}" srcOrd="0" destOrd="0" presId="urn:microsoft.com/office/officeart/2008/layout/IncreasingCircleProcess"/>
    <dgm:cxn modelId="{945BD436-E5C8-4572-AFE3-6FECCF269A45}" type="presParOf" srcId="{AFB2F573-C87F-4364-A241-748974EC6060}" destId="{15D009F6-1C43-4434-9529-279F168DBCF9}" srcOrd="1" destOrd="0" presId="urn:microsoft.com/office/officeart/2008/layout/IncreasingCircleProcess"/>
    <dgm:cxn modelId="{091E6039-0F52-4157-8DE5-04819516C67B}" type="presParOf" srcId="{AFB2F573-C87F-4364-A241-748974EC6060}" destId="{2B047AFF-E7D0-41DA-9284-DC4EF7B210D5}" srcOrd="2" destOrd="0" presId="urn:microsoft.com/office/officeart/2008/layout/IncreasingCircleProcess"/>
    <dgm:cxn modelId="{45078F79-C6D8-42DF-B883-CBB101183181}" type="presParOf" srcId="{AFB2F573-C87F-4364-A241-748974EC6060}" destId="{D9440760-A6FE-4892-96EB-9B5D269ADA04}" srcOrd="3" destOrd="0" presId="urn:microsoft.com/office/officeart/2008/layout/IncreasingCircleProcess"/>
    <dgm:cxn modelId="{CD80E1EE-7FEA-4D37-8700-BF20EE58EC85}" type="presParOf" srcId="{F13CB9CD-6397-4541-B259-2BC7F2CC8A04}" destId="{4B933BD0-78E0-44F3-A259-32036F4EF981}" srcOrd="3" destOrd="0" presId="urn:microsoft.com/office/officeart/2008/layout/IncreasingCircleProcess"/>
    <dgm:cxn modelId="{E959EAC9-FBBD-472B-8CC6-1EBA372CBF5F}" type="presParOf" srcId="{F13CB9CD-6397-4541-B259-2BC7F2CC8A04}" destId="{4DA92AF7-E701-40FD-A8E4-4D1F120CFFC7}" srcOrd="4" destOrd="0" presId="urn:microsoft.com/office/officeart/2008/layout/IncreasingCircleProcess"/>
    <dgm:cxn modelId="{D6638156-2B3A-4408-B5F2-2992D52768F3}" type="presParOf" srcId="{4DA92AF7-E701-40FD-A8E4-4D1F120CFFC7}" destId="{02065A23-08D3-4334-90B0-BA615B773B22}" srcOrd="0" destOrd="0" presId="urn:microsoft.com/office/officeart/2008/layout/IncreasingCircleProcess"/>
    <dgm:cxn modelId="{CC9718D3-DEBD-4BF0-9F4B-20A8BB9BBB45}" type="presParOf" srcId="{4DA92AF7-E701-40FD-A8E4-4D1F120CFFC7}" destId="{FD6B0E31-027C-40DA-8380-F2C4F9B42497}" srcOrd="1" destOrd="0" presId="urn:microsoft.com/office/officeart/2008/layout/IncreasingCircleProcess"/>
    <dgm:cxn modelId="{4157532E-5754-4D6B-8233-28028BF9410F}" type="presParOf" srcId="{4DA92AF7-E701-40FD-A8E4-4D1F120CFFC7}" destId="{9EC9924B-2B73-4931-A958-948EA0B9E616}" srcOrd="2" destOrd="0" presId="urn:microsoft.com/office/officeart/2008/layout/IncreasingCircleProcess"/>
    <dgm:cxn modelId="{FA0C3B38-BA41-47D5-B320-315BADDFA2A2}" type="presParOf" srcId="{4DA92AF7-E701-40FD-A8E4-4D1F120CFFC7}" destId="{6DA619F5-AF59-48C2-8FA0-902B99DF7363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0898B0-98D0-4CDD-95BF-89B244478AC6}">
      <dsp:nvSpPr>
        <dsp:cNvPr id="0" name=""/>
        <dsp:cNvSpPr/>
      </dsp:nvSpPr>
      <dsp:spPr>
        <a:xfrm>
          <a:off x="418591" y="343006"/>
          <a:ext cx="2686212" cy="3426291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40171CAE-1ACA-4ED5-855D-A762734C3958}">
      <dsp:nvSpPr>
        <dsp:cNvPr id="0" name=""/>
        <dsp:cNvSpPr/>
      </dsp:nvSpPr>
      <dsp:spPr>
        <a:xfrm>
          <a:off x="678336" y="1328157"/>
          <a:ext cx="2068383" cy="20557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78336" y="1328157"/>
        <a:ext cx="2068383" cy="2055775"/>
      </dsp:txXfrm>
    </dsp:sp>
    <dsp:sp modelId="{5F4F73BE-768E-4C99-8DDD-671B95378262}">
      <dsp:nvSpPr>
        <dsp:cNvPr id="0" name=""/>
        <dsp:cNvSpPr/>
      </dsp:nvSpPr>
      <dsp:spPr>
        <a:xfrm>
          <a:off x="2621758" y="85845"/>
          <a:ext cx="925098" cy="925098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BEE310-AC52-42C8-8060-9E77571CBC45}">
      <dsp:nvSpPr>
        <dsp:cNvPr id="0" name=""/>
        <dsp:cNvSpPr/>
      </dsp:nvSpPr>
      <dsp:spPr>
        <a:xfrm>
          <a:off x="3546857" y="85845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УЧАСТНИКИ КОНТРОЛЯ</a:t>
          </a:r>
        </a:p>
      </dsp:txBody>
      <dsp:txXfrm>
        <a:off x="3546857" y="85845"/>
        <a:ext cx="1784687" cy="925098"/>
      </dsp:txXfrm>
    </dsp:sp>
    <dsp:sp modelId="{33B070B9-8B88-4E38-A010-A48E6E8CF204}">
      <dsp:nvSpPr>
        <dsp:cNvPr id="0" name=""/>
        <dsp:cNvSpPr/>
      </dsp:nvSpPr>
      <dsp:spPr>
        <a:xfrm>
          <a:off x="2621758" y="1177462"/>
          <a:ext cx="925098" cy="925098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092AEE-2BCA-4628-AE50-970BA783A45C}">
      <dsp:nvSpPr>
        <dsp:cNvPr id="0" name=""/>
        <dsp:cNvSpPr/>
      </dsp:nvSpPr>
      <dsp:spPr>
        <a:xfrm>
          <a:off x="3546857" y="1177462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СРЕДСТВА КОНТРОЛЯ</a:t>
          </a:r>
        </a:p>
      </dsp:txBody>
      <dsp:txXfrm>
        <a:off x="3546857" y="1177462"/>
        <a:ext cx="1784687" cy="925098"/>
      </dsp:txXfrm>
    </dsp:sp>
    <dsp:sp modelId="{78629F67-9BD6-4A66-B5F0-B37300809A5D}">
      <dsp:nvSpPr>
        <dsp:cNvPr id="0" name=""/>
        <dsp:cNvSpPr/>
      </dsp:nvSpPr>
      <dsp:spPr>
        <a:xfrm>
          <a:off x="2621758" y="2269078"/>
          <a:ext cx="925098" cy="925098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</dsp:sp>
    <dsp:sp modelId="{B7BFED5B-E379-4891-9D4F-B5327798FACD}">
      <dsp:nvSpPr>
        <dsp:cNvPr id="0" name=""/>
        <dsp:cNvSpPr/>
      </dsp:nvSpPr>
      <dsp:spPr>
        <a:xfrm>
          <a:off x="3546857" y="2269078"/>
          <a:ext cx="1784687" cy="9250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25400" rIns="50800" bIns="254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МЕХАНИЗМЫ</a:t>
          </a:r>
          <a:r>
            <a:rPr lang="ru-RU" sz="32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3546857" y="2269078"/>
        <a:ext cx="1784687" cy="9250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6FCFC3-A8A6-4FD2-BA00-B29D77B781CC}">
      <dsp:nvSpPr>
        <dsp:cNvPr id="0" name=""/>
        <dsp:cNvSpPr/>
      </dsp:nvSpPr>
      <dsp:spPr>
        <a:xfrm>
          <a:off x="4485333" y="845176"/>
          <a:ext cx="1161001" cy="7139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3932"/>
              </a:lnTo>
              <a:lnTo>
                <a:pt x="1161001" y="713932"/>
              </a:lnTo>
            </a:path>
          </a:pathLst>
        </a:cu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BA336E-F5E0-442C-92C1-498627EB88F2}">
      <dsp:nvSpPr>
        <dsp:cNvPr id="0" name=""/>
        <dsp:cNvSpPr/>
      </dsp:nvSpPr>
      <dsp:spPr>
        <a:xfrm>
          <a:off x="3218820" y="845176"/>
          <a:ext cx="1266513" cy="714300"/>
        </a:xfrm>
        <a:custGeom>
          <a:avLst/>
          <a:gdLst/>
          <a:ahLst/>
          <a:cxnLst/>
          <a:rect l="0" t="0" r="0" b="0"/>
          <a:pathLst>
            <a:path>
              <a:moveTo>
                <a:pt x="1266513" y="0"/>
              </a:moveTo>
              <a:lnTo>
                <a:pt x="1266513" y="714300"/>
              </a:lnTo>
              <a:lnTo>
                <a:pt x="0" y="714300"/>
              </a:lnTo>
            </a:path>
          </a:pathLst>
        </a:custGeom>
        <a:noFill/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CEFE8DD-EB1F-48BD-B395-51A97E9B9915}">
      <dsp:nvSpPr>
        <dsp:cNvPr id="0" name=""/>
        <dsp:cNvSpPr/>
      </dsp:nvSpPr>
      <dsp:spPr>
        <a:xfrm>
          <a:off x="2567564" y="0"/>
          <a:ext cx="3835538" cy="845176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НТРОЛЬ (АУДИТ)</a:t>
          </a:r>
          <a:endParaRPr lang="ru-RU" sz="2400" kern="1200" dirty="0"/>
        </a:p>
      </dsp:txBody>
      <dsp:txXfrm>
        <a:off x="2567564" y="0"/>
        <a:ext cx="3835538" cy="845176"/>
      </dsp:txXfrm>
    </dsp:sp>
    <dsp:sp modelId="{9313C185-F68B-4D1D-8FB4-C46CF54CCB8E}">
      <dsp:nvSpPr>
        <dsp:cNvPr id="0" name=""/>
        <dsp:cNvSpPr/>
      </dsp:nvSpPr>
      <dsp:spPr>
        <a:xfrm>
          <a:off x="543226" y="1063574"/>
          <a:ext cx="2675593" cy="991805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утренний аудит</a:t>
          </a:r>
        </a:p>
      </dsp:txBody>
      <dsp:txXfrm>
        <a:off x="543226" y="1063574"/>
        <a:ext cx="2675593" cy="991805"/>
      </dsp:txXfrm>
    </dsp:sp>
    <dsp:sp modelId="{89F39492-A987-4277-81BE-7C8048A3E00D}">
      <dsp:nvSpPr>
        <dsp:cNvPr id="0" name=""/>
        <dsp:cNvSpPr/>
      </dsp:nvSpPr>
      <dsp:spPr>
        <a:xfrm>
          <a:off x="5646335" y="1100110"/>
          <a:ext cx="2543679" cy="91799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3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нешний аудит</a:t>
          </a:r>
        </a:p>
      </dsp:txBody>
      <dsp:txXfrm>
        <a:off x="5646335" y="1100110"/>
        <a:ext cx="2543679" cy="91799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4E6E2C-62F5-47AE-81DF-A1F881B1782C}">
      <dsp:nvSpPr>
        <dsp:cNvPr id="0" name=""/>
        <dsp:cNvSpPr/>
      </dsp:nvSpPr>
      <dsp:spPr>
        <a:xfrm>
          <a:off x="2199983" y="367717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3D6486D-3B22-4D86-86B5-9672BBF352D8}">
      <dsp:nvSpPr>
        <dsp:cNvPr id="0" name=""/>
        <dsp:cNvSpPr/>
      </dsp:nvSpPr>
      <dsp:spPr>
        <a:xfrm>
          <a:off x="1937807" y="3803387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9585C7F6-DA89-42E0-AD07-526D82DDE393}">
      <dsp:nvSpPr>
        <dsp:cNvPr id="0" name=""/>
        <dsp:cNvSpPr/>
      </dsp:nvSpPr>
      <dsp:spPr>
        <a:xfrm>
          <a:off x="1663113" y="390307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6D087FC3-E4E8-4366-9A75-B9DC73FD1DF6}">
      <dsp:nvSpPr>
        <dsp:cNvPr id="0" name=""/>
        <dsp:cNvSpPr/>
      </dsp:nvSpPr>
      <dsp:spPr>
        <a:xfrm>
          <a:off x="3458706" y="2216197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82ED9154-2EB1-4ABC-9308-C33DD6412C75}">
      <dsp:nvSpPr>
        <dsp:cNvPr id="0" name=""/>
        <dsp:cNvSpPr/>
      </dsp:nvSpPr>
      <dsp:spPr>
        <a:xfrm>
          <a:off x="3353001" y="2473035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3BCB230-B45D-44D0-B3ED-4FB33D05CCAB}">
      <dsp:nvSpPr>
        <dsp:cNvPr id="0" name=""/>
        <dsp:cNvSpPr/>
      </dsp:nvSpPr>
      <dsp:spPr>
        <a:xfrm>
          <a:off x="3277895" y="282791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DCE2A6D1-2F73-4D0A-9B0D-054A9F3EFBC9}">
      <dsp:nvSpPr>
        <dsp:cNvPr id="0" name=""/>
        <dsp:cNvSpPr/>
      </dsp:nvSpPr>
      <dsp:spPr>
        <a:xfrm>
          <a:off x="3471223" y="16002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C95FF3B1-160E-4B17-8B6A-186E92016483}">
      <dsp:nvSpPr>
        <dsp:cNvPr id="0" name=""/>
        <dsp:cNvSpPr/>
      </dsp:nvSpPr>
      <dsp:spPr>
        <a:xfrm>
          <a:off x="3664552" y="37248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F526CF0-4CE9-4CA5-A686-CD26F62604B6}">
      <dsp:nvSpPr>
        <dsp:cNvPr id="0" name=""/>
        <dsp:cNvSpPr/>
      </dsp:nvSpPr>
      <dsp:spPr>
        <a:xfrm>
          <a:off x="3857881" y="16002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F04BCDC5-FD95-4DBF-B975-5953D2FDF4C2}">
      <dsp:nvSpPr>
        <dsp:cNvPr id="0" name=""/>
        <dsp:cNvSpPr/>
      </dsp:nvSpPr>
      <dsp:spPr>
        <a:xfrm>
          <a:off x="4051209" y="282791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E0AFFDC4-A7EC-424A-8DB5-BE74047EF0B0}">
      <dsp:nvSpPr>
        <dsp:cNvPr id="0" name=""/>
        <dsp:cNvSpPr/>
      </dsp:nvSpPr>
      <dsp:spPr>
        <a:xfrm>
          <a:off x="3664552" y="296050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A32867C9-CEE0-4D7B-9A4A-263AF574E164}">
      <dsp:nvSpPr>
        <dsp:cNvPr id="0" name=""/>
        <dsp:cNvSpPr/>
      </dsp:nvSpPr>
      <dsp:spPr>
        <a:xfrm>
          <a:off x="3664552" y="555344"/>
          <a:ext cx="139085" cy="139085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76F015D7-DF7C-4C48-ACCF-B64B9E2320F8}">
      <dsp:nvSpPr>
        <dsp:cNvPr id="0" name=""/>
        <dsp:cNvSpPr/>
      </dsp:nvSpPr>
      <dsp:spPr>
        <a:xfrm>
          <a:off x="985072" y="4199011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НАНИЯ И НАВЫКИ ПО РУКОВОДСТВУ АУДИТОМ</a:t>
          </a:r>
        </a:p>
      </dsp:txBody>
      <dsp:txXfrm>
        <a:off x="1024340" y="4238279"/>
        <a:ext cx="2921536" cy="725863"/>
      </dsp:txXfrm>
    </dsp:sp>
    <dsp:sp modelId="{5C854E40-201B-48CE-8F50-F530E4090928}">
      <dsp:nvSpPr>
        <dsp:cNvPr id="0" name=""/>
        <dsp:cNvSpPr/>
      </dsp:nvSpPr>
      <dsp:spPr>
        <a:xfrm>
          <a:off x="244220" y="3370648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4229303-A497-4F47-8CF4-80409B1B57D0}">
      <dsp:nvSpPr>
        <dsp:cNvPr id="0" name=""/>
        <dsp:cNvSpPr/>
      </dsp:nvSpPr>
      <dsp:spPr>
        <a:xfrm>
          <a:off x="2914882" y="3154471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УРОВЕНЬ И СПЕЦИФИКА ОБРАЗОВАНИЯ</a:t>
          </a:r>
        </a:p>
      </dsp:txBody>
      <dsp:txXfrm>
        <a:off x="2954150" y="3193739"/>
        <a:ext cx="2921536" cy="725863"/>
      </dsp:txXfrm>
    </dsp:sp>
    <dsp:sp modelId="{41EC88DE-0BE4-42D4-96CC-B774EACC4567}">
      <dsp:nvSpPr>
        <dsp:cNvPr id="0" name=""/>
        <dsp:cNvSpPr/>
      </dsp:nvSpPr>
      <dsp:spPr>
        <a:xfrm>
          <a:off x="2083151" y="2365787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DD1A38B-2F50-4F1C-82BC-E3AD1A1839A4}">
      <dsp:nvSpPr>
        <dsp:cNvPr id="0" name=""/>
        <dsp:cNvSpPr/>
      </dsp:nvSpPr>
      <dsp:spPr>
        <a:xfrm>
          <a:off x="3800856" y="1570227"/>
          <a:ext cx="3000072" cy="804399"/>
        </a:xfrm>
        <a:prstGeom prst="roundRect">
          <a:avLst/>
        </a:prstGeom>
        <a:solidFill>
          <a:srgbClr val="E9EFF7"/>
        </a:solidFill>
        <a:ln w="25400" cap="flat" cmpd="sng" algn="ctr">
          <a:solidFill>
            <a:srgbClr val="002060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35015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ЛИЧНЫЕ КАЧЕСТВА</a:t>
          </a:r>
          <a:endParaRPr lang="ru-RU" sz="15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840124" y="1609495"/>
        <a:ext cx="2921536" cy="725863"/>
      </dsp:txXfrm>
    </dsp:sp>
    <dsp:sp modelId="{9CF3ADE2-9CB5-46F9-B402-AEBA0793F782}">
      <dsp:nvSpPr>
        <dsp:cNvPr id="0" name=""/>
        <dsp:cNvSpPr/>
      </dsp:nvSpPr>
      <dsp:spPr>
        <a:xfrm>
          <a:off x="2969125" y="781543"/>
          <a:ext cx="1390854" cy="1390755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661F6E-3D36-4F70-9D31-9BC41EC4732A}">
      <dsp:nvSpPr>
        <dsp:cNvPr id="0" name=""/>
        <dsp:cNvSpPr/>
      </dsp:nvSpPr>
      <dsp:spPr>
        <a:xfrm>
          <a:off x="0" y="0"/>
          <a:ext cx="811601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65F39B-7356-43DE-9B8C-7F1C1DF1547F}">
      <dsp:nvSpPr>
        <dsp:cNvPr id="0" name=""/>
        <dsp:cNvSpPr/>
      </dsp:nvSpPr>
      <dsp:spPr>
        <a:xfrm>
          <a:off x="0" y="0"/>
          <a:ext cx="1623203" cy="45259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РОГРАММА АУДИТА </a:t>
          </a:r>
          <a:endParaRPr lang="ru-RU" sz="1800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1623203" cy="4525963"/>
      </dsp:txXfrm>
    </dsp:sp>
    <dsp:sp modelId="{D53CA1A3-F6AB-4B94-A70A-C374A474BC38}">
      <dsp:nvSpPr>
        <dsp:cNvPr id="0" name=""/>
        <dsp:cNvSpPr/>
      </dsp:nvSpPr>
      <dsp:spPr>
        <a:xfrm>
          <a:off x="1744943" y="35635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оставление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лана-графика</a:t>
          </a: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аудитов</a:t>
          </a:r>
        </a:p>
      </dsp:txBody>
      <dsp:txXfrm>
        <a:off x="1744943" y="35635"/>
        <a:ext cx="6371071" cy="712706"/>
      </dsp:txXfrm>
    </dsp:sp>
    <dsp:sp modelId="{12CDBCBA-774B-40DF-B2B2-3739DAB2AA11}">
      <dsp:nvSpPr>
        <dsp:cNvPr id="0" name=""/>
        <dsp:cNvSpPr/>
      </dsp:nvSpPr>
      <dsp:spPr>
        <a:xfrm>
          <a:off x="1623203" y="748341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F14012-C5E5-4E79-97F5-356064DA710C}">
      <dsp:nvSpPr>
        <dsp:cNvPr id="0" name=""/>
        <dsp:cNvSpPr/>
      </dsp:nvSpPr>
      <dsp:spPr>
        <a:xfrm>
          <a:off x="1744943" y="783977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беспечение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мпетентности аудиторов </a:t>
          </a: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 руководителей аудиторских групп</a:t>
          </a:r>
        </a:p>
      </dsp:txBody>
      <dsp:txXfrm>
        <a:off x="1744943" y="783977"/>
        <a:ext cx="6371071" cy="712706"/>
      </dsp:txXfrm>
    </dsp:sp>
    <dsp:sp modelId="{47D8A9B8-4977-4FC5-BEE3-DAE8D342C587}">
      <dsp:nvSpPr>
        <dsp:cNvPr id="0" name=""/>
        <dsp:cNvSpPr/>
      </dsp:nvSpPr>
      <dsp:spPr>
        <a:xfrm>
          <a:off x="1623203" y="1496683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18E637F-68CE-427E-940B-AFC28BE3BAB2}">
      <dsp:nvSpPr>
        <dsp:cNvPr id="0" name=""/>
        <dsp:cNvSpPr/>
      </dsp:nvSpPr>
      <dsp:spPr>
        <a:xfrm>
          <a:off x="1744943" y="1532319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оведение аудита и обеспечение и поддержания записи по программе аудита</a:t>
          </a:r>
        </a:p>
      </dsp:txBody>
      <dsp:txXfrm>
        <a:off x="1744943" y="1532319"/>
        <a:ext cx="6371071" cy="712706"/>
      </dsp:txXfrm>
    </dsp:sp>
    <dsp:sp modelId="{8B822711-CDCD-48A4-A5C7-7CB975702142}">
      <dsp:nvSpPr>
        <dsp:cNvPr id="0" name=""/>
        <dsp:cNvSpPr/>
      </dsp:nvSpPr>
      <dsp:spPr>
        <a:xfrm>
          <a:off x="1623203" y="2245025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0D6227-A5FA-43F5-9289-BA8FEC8BD215}">
      <dsp:nvSpPr>
        <dsp:cNvPr id="0" name=""/>
        <dsp:cNvSpPr/>
      </dsp:nvSpPr>
      <dsp:spPr>
        <a:xfrm>
          <a:off x="1744943" y="2280661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Выполнение действий по результатам аудита, которые могут быть </a:t>
          </a:r>
          <a:r>
            <a:rPr lang="ru-RU" sz="17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корректирующими или предупреждающими</a:t>
          </a:r>
        </a:p>
      </dsp:txBody>
      <dsp:txXfrm>
        <a:off x="1744943" y="2280661"/>
        <a:ext cx="6371071" cy="712706"/>
      </dsp:txXfrm>
    </dsp:sp>
    <dsp:sp modelId="{51B8199D-34C7-4CE9-85FF-E6F68E5956AD}">
      <dsp:nvSpPr>
        <dsp:cNvPr id="0" name=""/>
        <dsp:cNvSpPr/>
      </dsp:nvSpPr>
      <dsp:spPr>
        <a:xfrm>
          <a:off x="1623203" y="2993367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F810C2-C948-49C6-8BD7-848014C6E889}">
      <dsp:nvSpPr>
        <dsp:cNvPr id="0" name=""/>
        <dsp:cNvSpPr/>
      </dsp:nvSpPr>
      <dsp:spPr>
        <a:xfrm>
          <a:off x="1744943" y="3029002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Мониторинг показателей результативности программы</a:t>
          </a:r>
          <a:endParaRPr lang="ru-RU" sz="1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44943" y="3029002"/>
        <a:ext cx="6371071" cy="712706"/>
      </dsp:txXfrm>
    </dsp:sp>
    <dsp:sp modelId="{1F37052F-2A59-464B-AF0C-F33823A5E534}">
      <dsp:nvSpPr>
        <dsp:cNvPr id="0" name=""/>
        <dsp:cNvSpPr/>
      </dsp:nvSpPr>
      <dsp:spPr>
        <a:xfrm>
          <a:off x="1623203" y="3741709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9CCFB1-68AB-4B5A-A85B-0A5909ED56E1}">
      <dsp:nvSpPr>
        <dsp:cNvPr id="0" name=""/>
        <dsp:cNvSpPr/>
      </dsp:nvSpPr>
      <dsp:spPr>
        <a:xfrm>
          <a:off x="1744943" y="3777344"/>
          <a:ext cx="6371071" cy="712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и утверждение отчетов по аудиту с обязательной рассылкой заинтересованным сторонам</a:t>
          </a:r>
          <a:endParaRPr lang="ru-RU" sz="1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44943" y="3777344"/>
        <a:ext cx="6371071" cy="712706"/>
      </dsp:txXfrm>
    </dsp:sp>
    <dsp:sp modelId="{A4CC175F-2E19-4E75-8BAF-83A3CCE222E8}">
      <dsp:nvSpPr>
        <dsp:cNvPr id="0" name=""/>
        <dsp:cNvSpPr/>
      </dsp:nvSpPr>
      <dsp:spPr>
        <a:xfrm>
          <a:off x="1623203" y="4490051"/>
          <a:ext cx="649281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50F6B1-AA3E-481F-B8EE-1692302FCF89}">
      <dsp:nvSpPr>
        <dsp:cNvPr id="0" name=""/>
        <dsp:cNvSpPr/>
      </dsp:nvSpPr>
      <dsp:spPr>
        <a:xfrm>
          <a:off x="241325" y="340"/>
          <a:ext cx="3708945" cy="222536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noFill/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 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ЭТИЧНОСТЬ ПОВЕДЕНИЯ</a:t>
          </a:r>
        </a:p>
        <a:p>
          <a:pPr marL="0"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265113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Это основа профессионализма </a:t>
          </a:r>
          <a:r>
            <a:rPr lang="ru-RU" sz="140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тветственность, неподкупность, умение хранить тайну и осмотрительность</a:t>
          </a: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0"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>
        <a:off x="241325" y="340"/>
        <a:ext cx="3708945" cy="2225367"/>
      </dsp:txXfrm>
    </dsp:sp>
    <dsp:sp modelId="{0CF15A94-6F3F-43F2-A186-4B9F6D88D18B}">
      <dsp:nvSpPr>
        <dsp:cNvPr id="0" name=""/>
        <dsp:cNvSpPr/>
      </dsp:nvSpPr>
      <dsp:spPr>
        <a:xfrm>
          <a:off x="4300247" y="1453"/>
          <a:ext cx="3708945" cy="222536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БЕСПРИСТРАСТНОСТЬ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</dsp:txBody>
      <dsp:txXfrm>
        <a:off x="4300247" y="1453"/>
        <a:ext cx="3708945" cy="2225367"/>
      </dsp:txXfrm>
    </dsp:sp>
    <dsp:sp modelId="{731DA300-45A5-44A8-A0EF-C0806CB5C108}">
      <dsp:nvSpPr>
        <dsp:cNvPr id="0" name=""/>
        <dsp:cNvSpPr/>
      </dsp:nvSpPr>
      <dsp:spPr>
        <a:xfrm>
          <a:off x="220407" y="2597715"/>
          <a:ext cx="3708945" cy="2225367"/>
        </a:xfrm>
        <a:prstGeom prst="rect">
          <a:avLst/>
        </a:prstGeom>
        <a:solidFill>
          <a:schemeClr val="lt1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ПРОФЕССИОНАЛЬНАЯ</a:t>
          </a:r>
        </a:p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КОМПЕТЕНТНОСТЬ   </a:t>
          </a:r>
        </a:p>
        <a:p>
          <a:pPr marL="0" lvl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уровень образования</a:t>
          </a: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пыт работы</a:t>
          </a:r>
        </a:p>
        <a:p>
          <a:pPr marL="357188" lvl="0" indent="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обучение на аудитора</a:t>
          </a:r>
        </a:p>
        <a:p>
          <a:pPr marL="447675" lvl="0" indent="-90488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-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дополнительное повышение </a:t>
          </a:r>
          <a:r>
            <a:rPr lang="en-US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   </a:t>
          </a:r>
          <a:r>
            <a:rPr lang="ru-RU" sz="1400" b="0" kern="1200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квалификации                    </a:t>
          </a:r>
        </a:p>
      </dsp:txBody>
      <dsp:txXfrm>
        <a:off x="220407" y="2597715"/>
        <a:ext cx="3708945" cy="2225367"/>
      </dsp:txXfrm>
    </dsp:sp>
    <dsp:sp modelId="{3DA96B4E-75E9-4621-8B6C-F57B8EC052DE}">
      <dsp:nvSpPr>
        <dsp:cNvPr id="0" name=""/>
        <dsp:cNvSpPr/>
      </dsp:nvSpPr>
      <dsp:spPr>
        <a:xfrm>
          <a:off x="4334035" y="2599168"/>
          <a:ext cx="3708945" cy="2225367"/>
        </a:xfrm>
        <a:prstGeom prst="rect">
          <a:avLst/>
        </a:prstGeom>
        <a:solidFill>
          <a:schemeClr val="accent1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b="1" kern="1200" dirty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002060"/>
            </a:solidFill>
            <a:latin typeface="Arial" pitchFamily="34" charset="0"/>
            <a:cs typeface="Arial" pitchFamily="34" charset="0"/>
          </a:endParaRPr>
        </a:p>
      </dsp:txBody>
      <dsp:txXfrm>
        <a:off x="4334035" y="2599168"/>
        <a:ext cx="3708945" cy="222536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79BE47-F78E-4BBD-9448-E9BD729A51DF}">
      <dsp:nvSpPr>
        <dsp:cNvPr id="0" name=""/>
        <dsp:cNvSpPr/>
      </dsp:nvSpPr>
      <dsp:spPr>
        <a:xfrm>
          <a:off x="4927" y="91505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842F2E-0451-45A8-81DE-2D20DAA3A091}">
      <dsp:nvSpPr>
        <dsp:cNvPr id="0" name=""/>
        <dsp:cNvSpPr/>
      </dsp:nvSpPr>
      <dsp:spPr>
        <a:xfrm>
          <a:off x="67636" y="154209"/>
          <a:ext cx="501672" cy="501672"/>
        </a:xfrm>
        <a:prstGeom prst="chord">
          <a:avLst>
            <a:gd name="adj1" fmla="val 1168272"/>
            <a:gd name="adj2" fmla="val 9631728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71D0D1-DFD4-4389-B4B3-36765D0B2B9E}">
      <dsp:nvSpPr>
        <dsp:cNvPr id="0" name=""/>
        <dsp:cNvSpPr/>
      </dsp:nvSpPr>
      <dsp:spPr>
        <a:xfrm>
          <a:off x="473222" y="1100726"/>
          <a:ext cx="2161241" cy="30688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редварительное заседание аудиторской группы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спределение ответственности между членами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нализ предыдущих результатов аудита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зменения законодательства</a:t>
          </a:r>
        </a:p>
      </dsp:txBody>
      <dsp:txXfrm>
        <a:off x="473222" y="1100726"/>
        <a:ext cx="2161241" cy="3068821"/>
      </dsp:txXfrm>
    </dsp:sp>
    <dsp:sp modelId="{C33BE2D5-CBF4-48E2-BA7E-072613E45E8C}">
      <dsp:nvSpPr>
        <dsp:cNvPr id="0" name=""/>
        <dsp:cNvSpPr/>
      </dsp:nvSpPr>
      <dsp:spPr>
        <a:xfrm>
          <a:off x="558652" y="0"/>
          <a:ext cx="2240233" cy="627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58652" y="0"/>
        <a:ext cx="2240233" cy="627090"/>
      </dsp:txXfrm>
    </dsp:sp>
    <dsp:sp modelId="{D48344F7-29CA-4876-B8B5-D5D3C4BB7928}">
      <dsp:nvSpPr>
        <dsp:cNvPr id="0" name=""/>
        <dsp:cNvSpPr/>
      </dsp:nvSpPr>
      <dsp:spPr>
        <a:xfrm>
          <a:off x="2940994" y="107453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D009F6-1C43-4434-9529-279F168DBCF9}">
      <dsp:nvSpPr>
        <dsp:cNvPr id="0" name=""/>
        <dsp:cNvSpPr/>
      </dsp:nvSpPr>
      <dsp:spPr>
        <a:xfrm>
          <a:off x="3003703" y="170162"/>
          <a:ext cx="501672" cy="501672"/>
        </a:xfrm>
        <a:prstGeom prst="chord">
          <a:avLst>
            <a:gd name="adj1" fmla="val 20431728"/>
            <a:gd name="adj2" fmla="val 11968272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047AFF-E7D0-41DA-9284-DC4EF7B210D5}">
      <dsp:nvSpPr>
        <dsp:cNvPr id="0" name=""/>
        <dsp:cNvSpPr/>
      </dsp:nvSpPr>
      <dsp:spPr>
        <a:xfrm>
          <a:off x="3599033" y="1068484"/>
          <a:ext cx="1855143" cy="2639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спользование    чек-листов</a:t>
          </a:r>
        </a:p>
      </dsp:txBody>
      <dsp:txXfrm>
        <a:off x="3599033" y="1068484"/>
        <a:ext cx="1855143" cy="2639006"/>
      </dsp:txXfrm>
    </dsp:sp>
    <dsp:sp modelId="{D9440760-A6FE-4892-96EB-9B5D269ADA04}">
      <dsp:nvSpPr>
        <dsp:cNvPr id="0" name=""/>
        <dsp:cNvSpPr/>
      </dsp:nvSpPr>
      <dsp:spPr>
        <a:xfrm>
          <a:off x="3727984" y="255569"/>
          <a:ext cx="1855143" cy="2765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b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27984" y="255569"/>
        <a:ext cx="1855143" cy="276578"/>
      </dsp:txXfrm>
    </dsp:sp>
    <dsp:sp modelId="{02065A23-08D3-4334-90B0-BA615B773B22}">
      <dsp:nvSpPr>
        <dsp:cNvPr id="0" name=""/>
        <dsp:cNvSpPr/>
      </dsp:nvSpPr>
      <dsp:spPr>
        <a:xfrm>
          <a:off x="5684516" y="107453"/>
          <a:ext cx="627090" cy="627090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6B0E31-027C-40DA-8380-F2C4F9B42497}">
      <dsp:nvSpPr>
        <dsp:cNvPr id="0" name=""/>
        <dsp:cNvSpPr/>
      </dsp:nvSpPr>
      <dsp:spPr>
        <a:xfrm>
          <a:off x="5747225" y="170162"/>
          <a:ext cx="501672" cy="501672"/>
        </a:xfrm>
        <a:prstGeom prst="chord">
          <a:avLst>
            <a:gd name="adj1" fmla="val 16200000"/>
            <a:gd name="adj2" fmla="val 16200000"/>
          </a:avLst>
        </a:prstGeom>
        <a:solidFill>
          <a:srgbClr val="002060"/>
        </a:solidFill>
        <a:ln w="25400" cap="flat" cmpd="sng" algn="ctr">
          <a:solidFill>
            <a:srgbClr val="00206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C9924B-2B73-4931-A958-948EA0B9E616}">
      <dsp:nvSpPr>
        <dsp:cNvPr id="0" name=""/>
        <dsp:cNvSpPr/>
      </dsp:nvSpPr>
      <dsp:spPr>
        <a:xfrm>
          <a:off x="6370197" y="1025204"/>
          <a:ext cx="1855143" cy="26390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35560" rIns="35560" bIns="3556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Заключительное заседание аудиторской группы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Формирование протокола проверки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Разработка корректирующих или предупреждающих действий</a:t>
          </a:r>
        </a:p>
      </dsp:txBody>
      <dsp:txXfrm>
        <a:off x="6370197" y="1025204"/>
        <a:ext cx="1855143" cy="2639006"/>
      </dsp:txXfrm>
    </dsp:sp>
    <dsp:sp modelId="{6DA619F5-AF59-48C2-8FA0-902B99DF7363}">
      <dsp:nvSpPr>
        <dsp:cNvPr id="0" name=""/>
        <dsp:cNvSpPr/>
      </dsp:nvSpPr>
      <dsp:spPr>
        <a:xfrm>
          <a:off x="6285361" y="167516"/>
          <a:ext cx="1873509" cy="3946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b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6285361" y="167516"/>
        <a:ext cx="1873509" cy="394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ccentedPicture">
  <dgm:title val=""/>
  <dgm:desc val=""/>
  <dgm:catLst>
    <dgm:cat type="picture" pri="1000"/>
    <dgm:cat type="pictureconver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</dgm:varLst>
    <dgm:alg type="composite"/>
    <dgm:shape xmlns:r="http://schemas.openxmlformats.org/officeDocument/2006/relationships" r:blip="">
      <dgm:adjLst/>
    </dgm:shape>
    <dgm:choose name="Name1">
      <dgm:if name="Name2" axis="ch" ptType="node" func="cnt" op="lte" val="1">
        <dgm:constrLst>
          <dgm:constr type="h" for="ch" forName="picture_1" refType="h"/>
          <dgm:constr type="w" for="ch" forName="picture_1" refType="h" refFor="ch" refForName="picture_1" op="equ" fact="0.784"/>
          <dgm:constr type="l" for="ch" forName="picture_1"/>
          <dgm:constr type="t" for="ch" forName="picture_1"/>
          <dgm:constr type="w" for="ch" forName="text_1" refType="w" refFor="ch" refForName="picture_1" fact="0.77"/>
          <dgm:constr type="h" for="ch" forName="text_1" refType="h" refFor="ch" refForName="picture_1" fact="0.6"/>
          <dgm:constr type="l" for="ch" forName="text_1" refType="w" refFor="ch" refForName="picture_1" fact="0.04"/>
          <dgm:constr type="t" for="ch" forName="text_1" refType="h" refFor="ch" refForName="picture_1" fact="0.4"/>
        </dgm:constrLst>
      </dgm:if>
      <dgm:if name="Name3" axis="ch" ptType="node" func="cnt" op="lte" val="5">
        <dgm:choose name="Name4">
          <dgm:if name="Name5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6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if>
      <dgm:else name="Name7">
        <dgm:choose name="Name8">
          <dgm:if name="Name9" func="var" arg="dir" op="equ" val="norm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l" for="ch" forName="picture_1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l" for="ch" forName="text_1" refType="w" refFor="ch" refForName="picture_1" fact="0.04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r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l" for="ch" forName="maxNode" refType="r" refFor="ch" refForName="picture_1"/>
              <dgm:constr type="lOff" for="ch" forName="maxNode" refType="h" refFor="des" refForName="pair" fact="0.5"/>
              <dgm:constr type="r" for="ch" forName="maxNode" refType="w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if>
          <dgm:else name="Name10">
            <dgm:constrLst>
              <dgm:constr type="h" for="ch" forName="picture_1" refType="h" fact="0.909"/>
              <dgm:constr type="w" for="ch" forName="picture_1" refType="h" refFor="ch" refForName="picture_1" op="equ" fact="0.784"/>
              <dgm:constr type="r" for="ch" forName="picture_1" refType="w"/>
              <dgm:constr type="t" for="ch" forName="picture_1" refType="h" refFor="ch" refForName="picture_1" fact="0.05"/>
              <dgm:constr type="w" for="ch" forName="picture_1" refType="w" op="lte" fact="0.588"/>
              <dgm:constr type="w" for="ch" forName="text_1" refType="w" refFor="ch" refForName="picture_1" fact="0.77"/>
              <dgm:constr type="h" for="ch" forName="text_1" refType="h" refFor="ch" refForName="picture_1" fact="0.6"/>
              <dgm:constr type="r" for="ch" forName="text_1" refType="w"/>
              <dgm:constr type="t" for="ch" forName="text_1" refType="h" refFor="ch" refForName="picture_1" fact="0.41"/>
              <dgm:constr type="w" for="ch" forName="linV" refType="w"/>
              <dgm:constr type="h" for="ch" forName="linV" refType="h" refFor="ch" refForName="picture_1" fact="1.1"/>
              <dgm:constr type="l" for="ch" forName="linV"/>
              <dgm:constr type="t" for="ch" forName="linV"/>
              <dgm:constr type="userC" for="des" forName="pair" refType="l" refFor="ch" refForName="picture_1"/>
              <dgm:constr type="h" for="des" forName="pair" refType="h" refFor="ch" refForName="picture_1" fact="0.27"/>
              <dgm:constr type="h" for="des" forName="spaceV" refType="h" refFor="ch" refForName="picture_1" fact="0.0486"/>
              <dgm:constr type="r" for="ch" forName="maxNode" refType="l" refFor="ch" refForName="picture_1"/>
              <dgm:constr type="rOff" for="ch" forName="maxNode" refType="h" refFor="des" refForName="pair" fact="-0.5"/>
              <dgm:constr type="l" for="ch" forName="maxNode"/>
              <dgm:constr type="t" for="ch" forName="maxNode"/>
              <dgm:constr type="h" for="ch" forName="maxNode" val="1"/>
              <dgm:constr type="userW" for="des" forName="desText" refType="w" refFor="ch" refForName="maxNode"/>
            </dgm:constrLst>
          </dgm:else>
        </dgm:choose>
      </dgm:else>
    </dgm:choose>
    <dgm:forEach name="Name11" axis="ch" ptType="sibTrans" hideLastTrans="0" cnt="1">
      <dgm:layoutNode name="picture_1" styleLbl="bgImgPlace1">
        <dgm:alg type="sp"/>
        <dgm:shape xmlns:r="http://schemas.openxmlformats.org/officeDocument/2006/relationships" type="roundRect" r:blip="" blipPhldr="1">
          <dgm:adjLst/>
        </dgm:shape>
        <dgm:presOf axis="self"/>
      </dgm:layoutNode>
    </dgm:forEach>
    <dgm:forEach name="Name12" axis="ch" ptType="node" cnt="1">
      <dgm:layoutNode name="text_1" styleLbl="node1">
        <dgm:varLst>
          <dgm:bulletEnabled val="1"/>
        </dgm:varLst>
        <dgm:choose name="Name13">
          <dgm:if name="Name14" func="var" arg="dir" op="equ" val="norm">
            <dgm:alg type="tx">
              <dgm:param type="txAnchorVert" val="b"/>
              <dgm:param type="parTxLTRAlign" val="l"/>
              <dgm:param type="shpTxLTRAlignCh" val="l"/>
              <dgm:param type="parTxRTLAlign" val="l"/>
              <dgm:param type="shpTxRTLAlignCh" val="l"/>
            </dgm:alg>
          </dgm:if>
          <dgm:else name="Name15">
            <dgm:alg type="tx">
              <dgm:param type="txAnchorVert" val="b"/>
              <dgm:param type="parTxLTRAlign" val="r"/>
              <dgm:param type="shpTxLTRAlignCh" val="r"/>
              <dgm:param type="parTxRTLAlign" val="r"/>
              <dgm:param type="shpTxRTLAlignCh" val="r"/>
            </dgm:alg>
          </dgm:else>
        </dgm:choose>
        <dgm:shape xmlns:r="http://schemas.openxmlformats.org/officeDocument/2006/relationships" type="rect" r:blip="" hideGeom="1">
          <dgm:adjLst/>
        </dgm:shape>
        <dgm:presOf axis="desOrSelf" ptType="node"/>
        <dgm:constrLst>
          <dgm:constr type="primFontSz" val="65"/>
          <dgm:constr type="lMarg" refType="primFontSz" fact="0.2"/>
          <dgm:constr type="rMarg" refType="primFontSz" fact="0.2"/>
          <dgm:constr type="tMarg" refType="primFontSz" fact="0.2"/>
          <dgm:constr type="bMarg" refType="primFontSz" fact="0.2"/>
        </dgm:constrLst>
        <dgm:ruleLst>
          <dgm:rule type="primFontSz" val="5" fact="NaN" max="NaN"/>
        </dgm:ruleLst>
      </dgm:layoutNode>
    </dgm:forEach>
    <dgm:choose name="Name16">
      <dgm:if name="Name17" axis="ch" ptType="node" func="cnt" op="gte" val="2">
        <dgm:layoutNode name="linV">
          <dgm:choose name="Name18">
            <dgm:if name="Name19" func="var" arg="dir" op="equ" val="norm">
              <dgm:alg type="lin">
                <dgm:param type="linDir" val="fromT"/>
                <dgm:param type="vertAlign" val="t"/>
                <dgm:param type="fallback" val="1D"/>
                <dgm:param type="horzAlign" val="l"/>
                <dgm:param type="nodeHorzAlign" val="l"/>
              </dgm:alg>
            </dgm:if>
            <dgm:else name="Name20">
              <dgm:alg type="lin">
                <dgm:param type="linDir" val="fromT"/>
                <dgm:param type="vertAlign" val="t"/>
                <dgm:param type="fallback" val="1D"/>
                <dgm:param type="horzAlign" val="r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constrLst>
            <dgm:constr type="w" for="ch" forName="spaceV" val="1"/>
            <dgm:constr type="w" for="ch" forName="pair" refType="w" op="equ"/>
            <dgm:constr type="w" for="des" forName="desText" op="equ"/>
            <dgm:constr type="primFontSz" for="des" forName="desText" op="equ" val="65"/>
          </dgm:constrLst>
          <dgm:forEach name="Name21" axis="ch" ptType="node" st="2">
            <dgm:layoutNode name="pair">
              <dgm:alg type="composite"/>
              <dgm:shape xmlns:r="http://schemas.openxmlformats.org/officeDocument/2006/relationships" r:blip="">
                <dgm:adjLst/>
              </dgm:shape>
              <dgm:choose name="Name22">
                <dgm:if name="Name23" func="var" arg="dir" op="equ" val="norm">
                  <dgm:constrLst>
                    <dgm:constr type="userC"/>
                    <dgm:constr type="l" for="ch" forName="spaceH"/>
                    <dgm:constr type="r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l" for="ch" forName="desTextWrapper" refType="r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if>
                <dgm:else name="Name24">
                  <dgm:constrLst>
                    <dgm:constr type="userC"/>
                    <dgm:constr type="r" for="ch" forName="spaceH" refType="w"/>
                    <dgm:constr type="l" for="ch" forName="spaceH" refType="userC"/>
                    <dgm:constr type="ctrY" for="ch" forName="spaceH" refType="w" fact="0.5"/>
                    <dgm:constr type="h" for="ch" forName="spaceH" val="1"/>
                    <dgm:constr type="w" for="ch" forName="desPictures" refType="h"/>
                    <dgm:constr type="h" for="ch" forName="desPictures" refType="w" refFor="ch" refForName="desPictures" op="equ"/>
                    <dgm:constr type="ctrX" for="ch" forName="desPictures" refType="userC"/>
                    <dgm:constr type="ctrY" for="ch" forName="desPictures" refType="w" fact="0.5"/>
                    <dgm:constr type="r" for="ch" forName="desTextWrapper" refType="l" refFor="ch" refForName="desPictures"/>
                    <dgm:constr type="ctrY" for="ch" forName="desTextWrapper" refType="w" fact="0.5"/>
                    <dgm:constr type="h" for="ch" forName="desTextWrapper" refType="h"/>
                    <dgm:constr type="h" for="des" forName="desText" refType="h"/>
                  </dgm:constrLst>
                </dgm:else>
              </dgm:choose>
              <dgm:layoutNode name="spaceH">
                <dgm:alg type="sp"/>
                <dgm:shape xmlns:r="http://schemas.openxmlformats.org/officeDocument/2006/relationships" type="rect" r:blip="" hideGeom="1">
                  <dgm:adjLst/>
                </dgm:shape>
                <dgm:presOf/>
              </dgm:layoutNode>
              <dgm:layoutNode name="desPictures" styleLbl="alignImgPlace1">
                <dgm:alg type="sp"/>
                <dgm:shape xmlns:r="http://schemas.openxmlformats.org/officeDocument/2006/relationships" type="ellipse" r:blip="" blipPhldr="1">
                  <dgm:adjLst/>
                </dgm:shape>
                <dgm:presOf/>
              </dgm:layoutNode>
              <dgm:layoutNode name="desTextWrapper">
                <dgm:choose name="Name25">
                  <dgm:if name="Name26" func="var" arg="dir" op="equ" val="norm">
                    <dgm:alg type="lin">
                      <dgm:param type="horzAlign" val="l"/>
                    </dgm:alg>
                  </dgm:if>
                  <dgm:else name="Name27">
                    <dgm:alg type="lin">
                      <dgm:param type="horzAlign" val="r"/>
                    </dgm:alg>
                  </dgm:else>
                </dgm:choose>
                <dgm:layoutNode name="desText" styleLbl="revTx">
                  <dgm:varLst>
                    <dgm:bulletEnabled val="1"/>
                  </dgm:varLst>
                  <dgm:choose name="Name28">
                    <dgm:if name="Name29" func="var" arg="dir" op="equ" val="norm">
                      <dgm:alg type="tx">
                        <dgm:param type="parTxLTRAlign" val="l"/>
                        <dgm:param type="shpTxLTRAlignCh" val="l"/>
                        <dgm:param type="parTxRTLAlign" val="r"/>
                        <dgm:param type="shpTxRTLAlignCh" val="r"/>
                      </dgm:alg>
                    </dgm:if>
                    <dgm:else name="Name30">
                      <dgm:alg type="tx">
                        <dgm:param type="parTxLTRAlign" val="r"/>
                        <dgm:param type="shpTxLTRAlignCh" val="r"/>
                        <dgm:param type="parTxRTLAlign" val="r"/>
                        <dgm:param type="shpTxRTLAlignCh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onstrLst>
                    <dgm:constr type="userW"/>
                    <dgm:constr type="w" refType="userW" fact="0.1"/>
                    <dgm:constr type="lMarg" refType="primFontSz" fact="0.2"/>
                    <dgm:constr type="rMarg" refType="primFontSz" fact="0.2"/>
                    <dgm:constr type="tMarg" refType="primFontSz" fact="0.1"/>
                    <dgm:constr type="bMarg" refType="primFontSz" fact="0.1"/>
                  </dgm:constrLst>
                  <dgm:ruleLst>
                    <dgm:rule type="w" val="NaN" fact="1" max="NaN"/>
                    <dgm:rule type="primFontSz" val="5" fact="NaN" max="NaN"/>
                  </dgm:ruleLst>
                </dgm:layoutNode>
              </dgm:layoutNode>
            </dgm:layoutNode>
            <dgm:forEach name="Name31" axis="followSib" ptType="sibTrans" cnt="1">
              <dgm:layoutNode name="spaceV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forEach>
          </dgm:forEach>
        </dgm:layoutNode>
      </dgm:if>
      <dgm:else name="Name32"/>
    </dgm:choose>
    <dgm:layoutNode name="maxNode">
      <dgm:alg type="lin"/>
      <dgm:shape xmlns:r="http://schemas.openxmlformats.org/officeDocument/2006/relationships" r:blip="">
        <dgm:adjLst/>
      </dgm:shape>
      <dgm:presOf/>
      <dgm:constrLst>
        <dgm:constr type="w" for="ch"/>
        <dgm:constr type="h" for="ch"/>
      </dgm:constrLst>
      <dgm:layoutNode name="Name33">
        <dgm:alg type="sp"/>
        <dgm:shape xmlns:r="http://schemas.openxmlformats.org/officeDocument/2006/relationships" r:blip="">
          <dgm:adjLst/>
        </dgm:shape>
        <dgm:presOf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5665AD-B4A7-43AC-9A06-A8B840CA07FF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02C6FC-D1B9-41F1-97BC-4FB1F0D982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336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65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4999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617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918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4113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3625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2C6FC-D1B9-41F1-97BC-4FB1F0D98208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574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01B6EB-F628-46E3-B0B7-F768307F9DE8}" type="datetimeFigureOut">
              <a:rPr lang="ru-RU" smtClean="0"/>
              <a:pPr/>
              <a:t>25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26B9F6-91DC-46F4-99B8-980AB6B51C65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2.xml"/><Relationship Id="rId7" Type="http://schemas.openxmlformats.org/officeDocument/2006/relationships/image" Target="../media/image1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image" Target="../media/image3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214C65C-494F-4E1F-BA98-990600811D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68000"/>
                    </a14:imgEffect>
                    <a14:imgEffect>
                      <a14:brightnessContrast bright="-100000" contras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971"/>
          <a:stretch/>
        </p:blipFill>
        <p:spPr>
          <a:xfrm>
            <a:off x="3419872" y="1426807"/>
            <a:ext cx="6017899" cy="5237293"/>
          </a:xfrm>
          <a:prstGeom prst="rect">
            <a:avLst/>
          </a:prstGeom>
        </p:spPr>
      </p:pic>
      <p:pic>
        <p:nvPicPr>
          <p:cNvPr id="7174" name="Picture 1" descr="\\10.20.10.30\obmen\Аранович А.Е\Эмблема ФГУ\эмблема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544" y="190649"/>
            <a:ext cx="651325" cy="645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1428474" y="278084"/>
            <a:ext cx="4572000" cy="615553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ФГБУ «ФЕДЕРАЛЬНЫЙ ЦЕНТР ТРАВМАТОЛОГИИ, </a:t>
            </a:r>
          </a:p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ОПЕДИИ И ЭНДОПРОТЕЗИРОВАНИЯ» </a:t>
            </a:r>
          </a:p>
          <a:p>
            <a:pPr lvl="0">
              <a:spcBef>
                <a:spcPct val="20000"/>
              </a:spcBef>
              <a:buClr>
                <a:srgbClr val="4F81BD"/>
              </a:buClr>
              <a:buSzPct val="70000"/>
              <a:defRPr/>
            </a:pPr>
            <a:r>
              <a:rPr lang="ru-RU" sz="1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ЗДРАВА РОСИИ (Г. ЧЕБОКСАРЫ) </a:t>
            </a:r>
          </a:p>
        </p:txBody>
      </p:sp>
      <p:sp>
        <p:nvSpPr>
          <p:cNvPr id="8" name="Блок-схема: процесс 7">
            <a:extLst>
              <a:ext uri="{FF2B5EF4-FFF2-40B4-BE49-F238E27FC236}">
                <a16:creationId xmlns:a16="http://schemas.microsoft.com/office/drawing/2014/main" id="{A499335E-CAE6-42E4-93AC-E87EB0A3F8D4}"/>
              </a:ext>
            </a:extLst>
          </p:cNvPr>
          <p:cNvSpPr/>
          <p:nvPr/>
        </p:nvSpPr>
        <p:spPr>
          <a:xfrm>
            <a:off x="3329608" y="1232211"/>
            <a:ext cx="7056784" cy="5832648"/>
          </a:xfrm>
          <a:prstGeom prst="flowChartProcess">
            <a:avLst/>
          </a:prstGeom>
          <a:solidFill>
            <a:schemeClr val="bg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одзаголовок 2"/>
          <p:cNvSpPr txBox="1">
            <a:spLocks/>
          </p:cNvSpPr>
          <p:nvPr/>
        </p:nvSpPr>
        <p:spPr>
          <a:xfrm>
            <a:off x="1459794" y="1412776"/>
            <a:ext cx="6280558" cy="2951783"/>
          </a:xfrm>
          <a:prstGeom prst="rect">
            <a:avLst/>
          </a:prstGeom>
        </p:spPr>
        <p:txBody>
          <a:bodyPr anchor="b"/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tabLst>
                <a:tab pos="981075" algn="l"/>
                <a:tab pos="4032250" algn="l"/>
              </a:tabLst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endParaRPr lang="ru-RU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  <a:tabLst>
                <a:tab pos="357188" algn="l"/>
              </a:tabLst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НТРОЛЬ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К ФУНДАМЕНТАЛЬНЫЙ ЭЛЕМЕНТ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СТЕМЫ УПРАВЛЕНИЯ </a:t>
            </a:r>
          </a:p>
          <a:p>
            <a:pPr>
              <a:lnSpc>
                <a:spcPct val="150000"/>
              </a:lnSpc>
              <a:defRPr/>
            </a:pPr>
            <a:r>
              <a:rPr lang="ru-RU" sz="2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ЧЕСТВОМ МЕДИЦИНСКОЙ ПОМОЩИ</a:t>
            </a:r>
            <a:endParaRPr lang="ru-RU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888CB6CE-6573-49D3-840E-DD28B4923655}"/>
              </a:ext>
            </a:extLst>
          </p:cNvPr>
          <p:cNvSpPr/>
          <p:nvPr/>
        </p:nvSpPr>
        <p:spPr>
          <a:xfrm>
            <a:off x="1331640" y="2276872"/>
            <a:ext cx="140504" cy="1959880"/>
          </a:xfrm>
          <a:prstGeom prst="rect">
            <a:avLst/>
          </a:prstGeom>
          <a:solidFill>
            <a:srgbClr val="228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564" y="5229200"/>
            <a:ext cx="4176712" cy="1008062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лавная медицинская сестра</a:t>
            </a:r>
          </a:p>
          <a:p>
            <a:pPr algn="l">
              <a:defRPr/>
            </a:pPr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.Н. Архипов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FEAB8DED-368F-4CDB-97E0-ACCE14FC4A2E}"/>
              </a:ext>
            </a:extLst>
          </p:cNvPr>
          <p:cNvSpPr/>
          <p:nvPr/>
        </p:nvSpPr>
        <p:spPr>
          <a:xfrm>
            <a:off x="3275856" y="965201"/>
            <a:ext cx="2823902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8439994E-9B98-4107-B2B1-F46172BA60E3}"/>
              </a:ext>
            </a:extLst>
          </p:cNvPr>
          <p:cNvSpPr/>
          <p:nvPr/>
        </p:nvSpPr>
        <p:spPr>
          <a:xfrm>
            <a:off x="6156176" y="965200"/>
            <a:ext cx="2823902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B32012F-BA9F-4D7E-A178-F94A333267EE}"/>
              </a:ext>
            </a:extLst>
          </p:cNvPr>
          <p:cNvSpPr/>
          <p:nvPr/>
        </p:nvSpPr>
        <p:spPr>
          <a:xfrm>
            <a:off x="470162" y="965201"/>
            <a:ext cx="2733686" cy="4768055"/>
          </a:xfrm>
          <a:prstGeom prst="rect">
            <a:avLst/>
          </a:prstGeom>
          <a:solidFill>
            <a:srgbClr val="E9EFF7"/>
          </a:solidFill>
          <a:ln w="1270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23850" y="95801"/>
            <a:ext cx="8496300" cy="740812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Ы ВНУТРЕННЕГО АУДИТА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A500D504-8834-4CA3-BA85-965A660907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9216074"/>
              </p:ext>
            </p:extLst>
          </p:nvPr>
        </p:nvGraphicFramePr>
        <p:xfrm>
          <a:off x="508645" y="965201"/>
          <a:ext cx="8311505" cy="4840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9" name="Стрелка: вниз 18">
            <a:extLst>
              <a:ext uri="{FF2B5EF4-FFF2-40B4-BE49-F238E27FC236}">
                <a16:creationId xmlns:a16="http://schemas.microsoft.com/office/drawing/2014/main" id="{11D2B5D8-55BF-4842-9776-69EE45BA2AE6}"/>
              </a:ext>
            </a:extLst>
          </p:cNvPr>
          <p:cNvSpPr/>
          <p:nvPr/>
        </p:nvSpPr>
        <p:spPr>
          <a:xfrm>
            <a:off x="7209488" y="4652571"/>
            <a:ext cx="784511" cy="331531"/>
          </a:xfrm>
          <a:prstGeom prst="downArrow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A17DC4F-0AC4-43BE-A06B-90786D8A635C}"/>
              </a:ext>
            </a:extLst>
          </p:cNvPr>
          <p:cNvSpPr txBox="1"/>
          <p:nvPr/>
        </p:nvSpPr>
        <p:spPr>
          <a:xfrm>
            <a:off x="6465963" y="5062568"/>
            <a:ext cx="23541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Й АУДИ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F896E79-3D7F-4B14-83D3-47875F60FC48}"/>
              </a:ext>
            </a:extLst>
          </p:cNvPr>
          <p:cNvSpPr txBox="1"/>
          <p:nvPr/>
        </p:nvSpPr>
        <p:spPr>
          <a:xfrm>
            <a:off x="467544" y="2011487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6A3EA37-E01C-48B2-AD0F-C12A718AA8D0}"/>
              </a:ext>
            </a:extLst>
          </p:cNvPr>
          <p:cNvSpPr txBox="1"/>
          <p:nvPr/>
        </p:nvSpPr>
        <p:spPr>
          <a:xfrm>
            <a:off x="479505" y="2875583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F29AE81-57EE-4575-BDC8-B806C7642418}"/>
              </a:ext>
            </a:extLst>
          </p:cNvPr>
          <p:cNvSpPr txBox="1"/>
          <p:nvPr/>
        </p:nvSpPr>
        <p:spPr>
          <a:xfrm>
            <a:off x="467544" y="3667671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E57E8DD-6143-4850-BE61-FF12C530ED44}"/>
              </a:ext>
            </a:extLst>
          </p:cNvPr>
          <p:cNvSpPr txBox="1"/>
          <p:nvPr/>
        </p:nvSpPr>
        <p:spPr>
          <a:xfrm>
            <a:off x="479505" y="432790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928A373-22F7-44B1-AE61-5D163CE6B4E5}"/>
              </a:ext>
            </a:extLst>
          </p:cNvPr>
          <p:cNvSpPr/>
          <p:nvPr/>
        </p:nvSpPr>
        <p:spPr>
          <a:xfrm>
            <a:off x="1098079" y="1188068"/>
            <a:ext cx="21057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ВАРИТЕЛЬНЫЙ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70F129-924C-4F17-B065-AB68990B38EB}"/>
              </a:ext>
            </a:extLst>
          </p:cNvPr>
          <p:cNvSpPr txBox="1"/>
          <p:nvPr/>
        </p:nvSpPr>
        <p:spPr>
          <a:xfrm>
            <a:off x="3375981" y="187299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B63E3DF-1DBE-4BBF-BF7F-B53FDA64E512}"/>
              </a:ext>
            </a:extLst>
          </p:cNvPr>
          <p:cNvSpPr txBox="1"/>
          <p:nvPr/>
        </p:nvSpPr>
        <p:spPr>
          <a:xfrm>
            <a:off x="3387942" y="2771549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73B87F7A-7AFA-4684-AB5D-6DA54EAA7488}"/>
              </a:ext>
            </a:extLst>
          </p:cNvPr>
          <p:cNvSpPr/>
          <p:nvPr/>
        </p:nvSpPr>
        <p:spPr>
          <a:xfrm>
            <a:off x="4086886" y="1973516"/>
            <a:ext cx="199728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 согласно утвержденному Плану-графику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64A227-6DF2-4ED1-A783-1E9853AB0A27}"/>
              </a:ext>
            </a:extLst>
          </p:cNvPr>
          <p:cNvSpPr txBox="1"/>
          <p:nvPr/>
        </p:nvSpPr>
        <p:spPr>
          <a:xfrm>
            <a:off x="6278898" y="187299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E78755-0157-446C-99ED-5E4244E8F47B}"/>
              </a:ext>
            </a:extLst>
          </p:cNvPr>
          <p:cNvSpPr txBox="1"/>
          <p:nvPr/>
        </p:nvSpPr>
        <p:spPr>
          <a:xfrm>
            <a:off x="6290859" y="2771549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535336-9EC1-4C64-B403-D6AE7383DCAA}"/>
              </a:ext>
            </a:extLst>
          </p:cNvPr>
          <p:cNvSpPr txBox="1"/>
          <p:nvPr/>
        </p:nvSpPr>
        <p:spPr>
          <a:xfrm>
            <a:off x="6278898" y="3571252"/>
            <a:ext cx="78451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4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68" name="Прямоугольник 7167">
            <a:extLst>
              <a:ext uri="{FF2B5EF4-FFF2-40B4-BE49-F238E27FC236}">
                <a16:creationId xmlns:a16="http://schemas.microsoft.com/office/drawing/2014/main" id="{50216A56-779E-48DF-9090-0BDB12E38DE8}"/>
              </a:ext>
            </a:extLst>
          </p:cNvPr>
          <p:cNvSpPr/>
          <p:nvPr/>
        </p:nvSpPr>
        <p:spPr>
          <a:xfrm>
            <a:off x="6858000" y="1185913"/>
            <a:ext cx="202414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ИТЕЛЬНЫЙ</a:t>
            </a:r>
            <a:endParaRPr lang="ru-RU" sz="1400" dirty="0"/>
          </a:p>
        </p:txBody>
      </p:sp>
      <p:sp>
        <p:nvSpPr>
          <p:cNvPr id="7169" name="Прямоугольник 7168">
            <a:extLst>
              <a:ext uri="{FF2B5EF4-FFF2-40B4-BE49-F238E27FC236}">
                <a16:creationId xmlns:a16="http://schemas.microsoft.com/office/drawing/2014/main" id="{62C42797-D6EC-43C5-A3CE-568380C068F1}"/>
              </a:ext>
            </a:extLst>
          </p:cNvPr>
          <p:cNvSpPr/>
          <p:nvPr/>
        </p:nvSpPr>
        <p:spPr>
          <a:xfrm>
            <a:off x="4172454" y="1188068"/>
            <a:ext cx="10820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</a:t>
            </a:r>
          </a:p>
        </p:txBody>
      </p:sp>
    </p:spTree>
    <p:extLst>
      <p:ext uri="{BB962C8B-B14F-4D97-AF65-F5344CB8AC3E}">
        <p14:creationId xmlns:p14="http://schemas.microsoft.com/office/powerpoint/2010/main" val="20755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3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TextBox 16"/>
          <p:cNvSpPr txBox="1"/>
          <p:nvPr/>
        </p:nvSpPr>
        <p:spPr>
          <a:xfrm>
            <a:off x="731528" y="159559"/>
            <a:ext cx="8028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КОЛ ПРОВЕРКИ СОСТАВЛЕН НА ОСНОВЕ ЧЕК-ЛИСТА   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012E979-A756-40C2-A85F-9EB051265481}"/>
              </a:ext>
            </a:extLst>
          </p:cNvPr>
          <p:cNvPicPr/>
          <p:nvPr/>
        </p:nvPicPr>
        <p:blipFill rotWithShape="1">
          <a:blip r:embed="rId4" cstate="print"/>
          <a:srcRect l="12215" t="16354" r="62788" b="20892"/>
          <a:stretch/>
        </p:blipFill>
        <p:spPr bwMode="auto">
          <a:xfrm>
            <a:off x="424313" y="836613"/>
            <a:ext cx="2994864" cy="4896644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1F0498C-B8B4-427A-81BE-0A593C7FB78C}"/>
              </a:ext>
            </a:extLst>
          </p:cNvPr>
          <p:cNvPicPr/>
          <p:nvPr/>
        </p:nvPicPr>
        <p:blipFill rotWithShape="1">
          <a:blip r:embed="rId4" cstate="print"/>
          <a:srcRect l="38466" t="17262" r="37493" b="21448"/>
          <a:stretch/>
        </p:blipFill>
        <p:spPr bwMode="auto">
          <a:xfrm>
            <a:off x="3226959" y="1198933"/>
            <a:ext cx="2880321" cy="4782416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/>
          <p:nvPr/>
        </p:nvPicPr>
        <p:blipFill rotWithShape="1">
          <a:blip r:embed="rId4" cstate="print"/>
          <a:srcRect l="63540" t="16354" r="12419" b="20892"/>
          <a:stretch/>
        </p:blipFill>
        <p:spPr bwMode="auto">
          <a:xfrm>
            <a:off x="6093259" y="1864229"/>
            <a:ext cx="2634912" cy="447944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3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67F71E9-6B9A-4EA5-8DD8-A949C84E5102}"/>
              </a:ext>
            </a:extLst>
          </p:cNvPr>
          <p:cNvSpPr txBox="1"/>
          <p:nvPr/>
        </p:nvSpPr>
        <p:spPr>
          <a:xfrm>
            <a:off x="731528" y="159559"/>
            <a:ext cx="80287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-СХЕМА ВНУТРЕННЕГО АУДИТА</a:t>
            </a:r>
          </a:p>
        </p:txBody>
      </p:sp>
      <p:sp>
        <p:nvSpPr>
          <p:cNvPr id="4" name="Блок-схема: знак завершения 3">
            <a:extLst>
              <a:ext uri="{FF2B5EF4-FFF2-40B4-BE49-F238E27FC236}">
                <a16:creationId xmlns:a16="http://schemas.microsoft.com/office/drawing/2014/main" id="{3A98C414-2ECF-47A2-BEED-059D5A19E881}"/>
              </a:ext>
            </a:extLst>
          </p:cNvPr>
          <p:cNvSpPr/>
          <p:nvPr/>
        </p:nvSpPr>
        <p:spPr>
          <a:xfrm>
            <a:off x="2987588" y="852402"/>
            <a:ext cx="3168823" cy="670686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и информации</a:t>
            </a:r>
          </a:p>
        </p:txBody>
      </p:sp>
      <p:sp>
        <p:nvSpPr>
          <p:cNvPr id="5" name="Блок-схема: процесс 4">
            <a:extLst>
              <a:ext uri="{FF2B5EF4-FFF2-40B4-BE49-F238E27FC236}">
                <a16:creationId xmlns:a16="http://schemas.microsoft.com/office/drawing/2014/main" id="{97B212D5-EA9E-463D-87C9-FD2CC1DC89F0}"/>
              </a:ext>
            </a:extLst>
          </p:cNvPr>
          <p:cNvSpPr/>
          <p:nvPr/>
        </p:nvSpPr>
        <p:spPr>
          <a:xfrm>
            <a:off x="2951583" y="1810286"/>
            <a:ext cx="3240831" cy="864096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выборочных данных и верификация</a:t>
            </a:r>
          </a:p>
        </p:txBody>
      </p:sp>
      <p:sp>
        <p:nvSpPr>
          <p:cNvPr id="18" name="Блок-схема: процесс 17">
            <a:extLst>
              <a:ext uri="{FF2B5EF4-FFF2-40B4-BE49-F238E27FC236}">
                <a16:creationId xmlns:a16="http://schemas.microsoft.com/office/drawing/2014/main" id="{C947A397-8B34-4DC3-87D3-48FA2F3AE6B5}"/>
              </a:ext>
            </a:extLst>
          </p:cNvPr>
          <p:cNvSpPr/>
          <p:nvPr/>
        </p:nvSpPr>
        <p:spPr>
          <a:xfrm>
            <a:off x="2951584" y="3293124"/>
            <a:ext cx="3240831" cy="667689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о критериям аудита</a:t>
            </a:r>
          </a:p>
        </p:txBody>
      </p:sp>
      <p:sp>
        <p:nvSpPr>
          <p:cNvPr id="19" name="Блок-схема: процесс 18">
            <a:extLst>
              <a:ext uri="{FF2B5EF4-FFF2-40B4-BE49-F238E27FC236}">
                <a16:creationId xmlns:a16="http://schemas.microsoft.com/office/drawing/2014/main" id="{0DF83EC3-7F68-4FE2-8892-E4C31A088E84}"/>
              </a:ext>
            </a:extLst>
          </p:cNvPr>
          <p:cNvSpPr/>
          <p:nvPr/>
        </p:nvSpPr>
        <p:spPr>
          <a:xfrm>
            <a:off x="2951584" y="4490603"/>
            <a:ext cx="3240831" cy="667689"/>
          </a:xfrm>
          <a:prstGeom prst="flowChartProcess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кол проверк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20B8D43-91AA-46DD-9BE0-F940A58AEDBE}"/>
              </a:ext>
            </a:extLst>
          </p:cNvPr>
          <p:cNvSpPr txBox="1"/>
          <p:nvPr/>
        </p:nvSpPr>
        <p:spPr>
          <a:xfrm>
            <a:off x="3404437" y="2924944"/>
            <a:ext cx="23351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видетельства аудита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401687-8600-4ABB-A8F8-107BBF3C0F23}"/>
              </a:ext>
            </a:extLst>
          </p:cNvPr>
          <p:cNvSpPr txBox="1"/>
          <p:nvPr/>
        </p:nvSpPr>
        <p:spPr>
          <a:xfrm>
            <a:off x="3742573" y="4147797"/>
            <a:ext cx="165885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воды аудита</a:t>
            </a:r>
          </a:p>
        </p:txBody>
      </p:sp>
      <p:sp>
        <p:nvSpPr>
          <p:cNvPr id="22" name="Блок-схема: знак завершения 21">
            <a:extLst>
              <a:ext uri="{FF2B5EF4-FFF2-40B4-BE49-F238E27FC236}">
                <a16:creationId xmlns:a16="http://schemas.microsoft.com/office/drawing/2014/main" id="{5BA0524A-647D-4E9E-B8AB-A8D2C0769B0F}"/>
              </a:ext>
            </a:extLst>
          </p:cNvPr>
          <p:cNvSpPr/>
          <p:nvPr/>
        </p:nvSpPr>
        <p:spPr>
          <a:xfrm>
            <a:off x="2987578" y="5412346"/>
            <a:ext cx="3168823" cy="670686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 по результатам аудита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CCA0E78B-0208-436E-BD15-FAAD633437CF}"/>
              </a:ext>
            </a:extLst>
          </p:cNvPr>
          <p:cNvCxnSpPr>
            <a:stCxn id="4" idx="2"/>
            <a:endCxn id="5" idx="0"/>
          </p:cNvCxnSpPr>
          <p:nvPr/>
        </p:nvCxnSpPr>
        <p:spPr>
          <a:xfrm flipH="1">
            <a:off x="4571999" y="1523088"/>
            <a:ext cx="1" cy="287198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33B21E00-73DA-4EE9-B16C-0C140C556263}"/>
              </a:ext>
            </a:extLst>
          </p:cNvPr>
          <p:cNvCxnSpPr>
            <a:cxnSpLocks/>
            <a:endCxn id="6" idx="0"/>
          </p:cNvCxnSpPr>
          <p:nvPr/>
        </p:nvCxnSpPr>
        <p:spPr>
          <a:xfrm flipH="1">
            <a:off x="4572000" y="2677490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A44242B7-4719-42F6-B17B-30FEC238D317}"/>
              </a:ext>
            </a:extLst>
          </p:cNvPr>
          <p:cNvCxnSpPr>
            <a:cxnSpLocks/>
          </p:cNvCxnSpPr>
          <p:nvPr/>
        </p:nvCxnSpPr>
        <p:spPr>
          <a:xfrm flipH="1">
            <a:off x="4571994" y="3973634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0FEE0CD2-0805-4645-8A57-F8263DCFF937}"/>
              </a:ext>
            </a:extLst>
          </p:cNvPr>
          <p:cNvCxnSpPr>
            <a:cxnSpLocks/>
          </p:cNvCxnSpPr>
          <p:nvPr/>
        </p:nvCxnSpPr>
        <p:spPr>
          <a:xfrm flipH="1">
            <a:off x="4571990" y="5166360"/>
            <a:ext cx="4" cy="2474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357E208-A878-4251-8387-2CB1501BFD1D}"/>
              </a:ext>
            </a:extLst>
          </p:cNvPr>
          <p:cNvSpPr/>
          <p:nvPr/>
        </p:nvSpPr>
        <p:spPr>
          <a:xfrm>
            <a:off x="6514966" y="4077071"/>
            <a:ext cx="1913582" cy="58353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едупреждающие действия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BC5ACAC0-D91D-4D75-8F1C-546EBC2289A2}"/>
              </a:ext>
            </a:extLst>
          </p:cNvPr>
          <p:cNvSpPr/>
          <p:nvPr/>
        </p:nvSpPr>
        <p:spPr>
          <a:xfrm>
            <a:off x="6514966" y="4743858"/>
            <a:ext cx="1913560" cy="5835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рректирующие действия</a:t>
            </a:r>
            <a:endParaRPr lang="ru-RU" sz="1400" dirty="0"/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29224F2F-439E-4783-B2D1-F2D9F32A5743}"/>
              </a:ext>
            </a:extLst>
          </p:cNvPr>
          <p:cNvCxnSpPr>
            <a:cxnSpLocks/>
          </p:cNvCxnSpPr>
          <p:nvPr/>
        </p:nvCxnSpPr>
        <p:spPr>
          <a:xfrm flipV="1">
            <a:off x="6183242" y="4327421"/>
            <a:ext cx="300125" cy="338554"/>
          </a:xfrm>
          <a:prstGeom prst="straightConnector1">
            <a:avLst/>
          </a:prstGeom>
          <a:ln w="127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70" name="Прямая со стрелкой 7169">
            <a:extLst>
              <a:ext uri="{FF2B5EF4-FFF2-40B4-BE49-F238E27FC236}">
                <a16:creationId xmlns:a16="http://schemas.microsoft.com/office/drawing/2014/main" id="{B772CF51-066A-4C17-AA5D-84511EFE3651}"/>
              </a:ext>
            </a:extLst>
          </p:cNvPr>
          <p:cNvCxnSpPr>
            <a:cxnSpLocks/>
          </p:cNvCxnSpPr>
          <p:nvPr/>
        </p:nvCxnSpPr>
        <p:spPr>
          <a:xfrm>
            <a:off x="6191784" y="4916563"/>
            <a:ext cx="323814" cy="215901"/>
          </a:xfrm>
          <a:prstGeom prst="straightConnector1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Блок-схема: знак завершения 38">
            <a:extLst>
              <a:ext uri="{FF2B5EF4-FFF2-40B4-BE49-F238E27FC236}">
                <a16:creationId xmlns:a16="http://schemas.microsoft.com/office/drawing/2014/main" id="{6F8D2A99-3F69-489A-A925-0A5004817EC6}"/>
              </a:ext>
            </a:extLst>
          </p:cNvPr>
          <p:cNvSpPr/>
          <p:nvPr/>
        </p:nvSpPr>
        <p:spPr>
          <a:xfrm>
            <a:off x="6488236" y="5500094"/>
            <a:ext cx="2035885" cy="445875"/>
          </a:xfrm>
          <a:prstGeom prst="flowChartTerminator">
            <a:avLst/>
          </a:prstGeom>
          <a:solidFill>
            <a:srgbClr val="E9EFF7"/>
          </a:solidFill>
          <a:ln w="127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й аудит</a:t>
            </a:r>
          </a:p>
        </p:txBody>
      </p:sp>
      <p:cxnSp>
        <p:nvCxnSpPr>
          <p:cNvPr id="7185" name="Прямая со стрелкой 7184">
            <a:extLst>
              <a:ext uri="{FF2B5EF4-FFF2-40B4-BE49-F238E27FC236}">
                <a16:creationId xmlns:a16="http://schemas.microsoft.com/office/drawing/2014/main" id="{6FE25CC9-1E9B-49DF-9C22-A8CB08C93732}"/>
              </a:ext>
            </a:extLst>
          </p:cNvPr>
          <p:cNvCxnSpPr>
            <a:cxnSpLocks/>
            <a:stCxn id="39" idx="1"/>
          </p:cNvCxnSpPr>
          <p:nvPr/>
        </p:nvCxnSpPr>
        <p:spPr>
          <a:xfrm flipH="1">
            <a:off x="6156402" y="5723032"/>
            <a:ext cx="331834" cy="11383"/>
          </a:xfrm>
          <a:prstGeom prst="straightConnector1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B92BE2CD-BEBD-4BB6-84FF-5AC43EC8445A}"/>
              </a:ext>
            </a:extLst>
          </p:cNvPr>
          <p:cNvSpPr/>
          <p:nvPr/>
        </p:nvSpPr>
        <p:spPr>
          <a:xfrm>
            <a:off x="611188" y="4500698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B40638-6C72-4A19-A3EF-F770831FBB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F3B7AFCB-70F5-4247-AEF8-2F658C21BA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latin typeface="Bebas Neue Bold" panose="020B0606020202050201" pitchFamily="34" charset="-52"/>
              <a:ea typeface="+mj-ea"/>
              <a:cs typeface="+mj-cs"/>
              <a:sym typeface="Bebas Neue Bold" panose="020B0606020202050201" pitchFamily="34" charset="-52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547802-07D7-459E-AA8C-79D8538F2FA7}"/>
              </a:ext>
            </a:extLst>
          </p:cNvPr>
          <p:cNvSpPr/>
          <p:nvPr/>
        </p:nvSpPr>
        <p:spPr>
          <a:xfrm>
            <a:off x="386954" y="3359056"/>
            <a:ext cx="8397478" cy="4680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84E508-4E7A-4D6F-B1E0-AFFD04AD6567}"/>
              </a:ext>
            </a:extLst>
          </p:cNvPr>
          <p:cNvSpPr/>
          <p:nvPr/>
        </p:nvSpPr>
        <p:spPr>
          <a:xfrm>
            <a:off x="628649" y="3359056"/>
            <a:ext cx="1944000" cy="468086"/>
          </a:xfrm>
          <a:prstGeom prst="rect">
            <a:avLst/>
          </a:prstGeom>
          <a:solidFill>
            <a:srgbClr val="E9EFF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811D7A7-7012-43C2-97AB-2B2041961FC1}"/>
              </a:ext>
            </a:extLst>
          </p:cNvPr>
          <p:cNvSpPr/>
          <p:nvPr/>
        </p:nvSpPr>
        <p:spPr>
          <a:xfrm>
            <a:off x="2663179" y="3359056"/>
            <a:ext cx="1944000" cy="46808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812C3DF-59ED-41ED-8589-25E775300E3A}"/>
              </a:ext>
            </a:extLst>
          </p:cNvPr>
          <p:cNvSpPr/>
          <p:nvPr/>
        </p:nvSpPr>
        <p:spPr>
          <a:xfrm>
            <a:off x="4697709" y="3359056"/>
            <a:ext cx="1944000" cy="4680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6FC880-9713-4DA7-BA41-DF0B80AA56FB}"/>
              </a:ext>
            </a:extLst>
          </p:cNvPr>
          <p:cNvSpPr/>
          <p:nvPr/>
        </p:nvSpPr>
        <p:spPr>
          <a:xfrm>
            <a:off x="6732240" y="3359056"/>
            <a:ext cx="1944000" cy="468086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73F6AA8-53AE-4A1E-9AE5-7090AD4E0896}"/>
              </a:ext>
            </a:extLst>
          </p:cNvPr>
          <p:cNvSpPr txBox="1"/>
          <p:nvPr/>
        </p:nvSpPr>
        <p:spPr>
          <a:xfrm>
            <a:off x="1061096" y="3810028"/>
            <a:ext cx="10791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ru-RU" dirty="0"/>
              <a:t>2011</a:t>
            </a:r>
            <a:r>
              <a:rPr lang="en-US" dirty="0"/>
              <a:t>-2014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6051BEF-B031-42CB-8D6E-1435DD367247}"/>
              </a:ext>
            </a:extLst>
          </p:cNvPr>
          <p:cNvSpPr txBox="1"/>
          <p:nvPr/>
        </p:nvSpPr>
        <p:spPr>
          <a:xfrm>
            <a:off x="3257847" y="2893866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4</a:t>
            </a:r>
            <a:endParaRPr 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50B4E8-9B8A-452F-908E-AC993800C773}"/>
              </a:ext>
            </a:extLst>
          </p:cNvPr>
          <p:cNvSpPr txBox="1"/>
          <p:nvPr/>
        </p:nvSpPr>
        <p:spPr>
          <a:xfrm>
            <a:off x="5219652" y="3827142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7</a:t>
            </a:r>
            <a:endParaRPr lang="ru-R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4DC0BB7-AF1F-4920-8DEF-0E641CACCF03}"/>
              </a:ext>
            </a:extLst>
          </p:cNvPr>
          <p:cNvSpPr txBox="1"/>
          <p:nvPr/>
        </p:nvSpPr>
        <p:spPr>
          <a:xfrm>
            <a:off x="7306013" y="2893866"/>
            <a:ext cx="9001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100">
                <a:solidFill>
                  <a:srgbClr val="002060"/>
                </a:solidFill>
                <a:latin typeface="Bebas Neue Regular" panose="00000500000000000000" pitchFamily="50" charset="-52"/>
              </a:defRPr>
            </a:lvl1pPr>
          </a:lstStyle>
          <a:p>
            <a:r>
              <a:rPr lang="en-US" dirty="0"/>
              <a:t>2018</a:t>
            </a:r>
            <a:endParaRPr lang="ru-RU" dirty="0"/>
          </a:p>
        </p:txBody>
      </p:sp>
      <p:pic>
        <p:nvPicPr>
          <p:cNvPr id="36" name="Picture 4" descr="http://www.orthoscheb.com/upload/iblock/801/801a80f9bed8fee80cbc455137154fc6.jpg">
            <a:extLst>
              <a:ext uri="{FF2B5EF4-FFF2-40B4-BE49-F238E27FC236}">
                <a16:creationId xmlns:a16="http://schemas.microsoft.com/office/drawing/2014/main" id="{61F03CE3-2441-4DD6-B508-D4CE51F41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039" y="889794"/>
            <a:ext cx="1575220" cy="2228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Заголовок 3">
            <a:extLst>
              <a:ext uri="{FF2B5EF4-FFF2-40B4-BE49-F238E27FC236}">
                <a16:creationId xmlns:a16="http://schemas.microsoft.com/office/drawing/2014/main" id="{0C7BC553-49F9-4F79-B261-DA71893DD992}"/>
              </a:ext>
            </a:extLst>
          </p:cNvPr>
          <p:cNvSpPr txBox="1">
            <a:spLocks/>
          </p:cNvSpPr>
          <p:nvPr/>
        </p:nvSpPr>
        <p:spPr>
          <a:xfrm>
            <a:off x="323850" y="95801"/>
            <a:ext cx="8496300" cy="7408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ВНЕДРЕНИЯ СИСТЕМЫ УПРАВЛЕНИЯ КАЧЕСТВОМ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2DB733-8AD3-4432-B446-C2F6D66AC515}"/>
              </a:ext>
            </a:extLst>
          </p:cNvPr>
          <p:cNvSpPr txBox="1"/>
          <p:nvPr/>
        </p:nvSpPr>
        <p:spPr>
          <a:xfrm>
            <a:off x="667384" y="4564285"/>
            <a:ext cx="17208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соответствия системе менеджмента качества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9001:2008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2" descr="http://www.orthoscheb.com/upload/iblock/6b5/6b5730a4453d040835666fe8e0e7faa6.jpg">
            <a:extLst>
              <a:ext uri="{FF2B5EF4-FFF2-40B4-BE49-F238E27FC236}">
                <a16:creationId xmlns:a16="http://schemas.microsoft.com/office/drawing/2014/main" id="{FC481987-D834-4552-AFC0-F762C0B522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005" y="889794"/>
            <a:ext cx="1581408" cy="222820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195BC08-5839-454D-B907-CE4FF4C93F4D}"/>
              </a:ext>
            </a:extLst>
          </p:cNvPr>
          <p:cNvCxnSpPr>
            <a:cxnSpLocks/>
          </p:cNvCxnSpPr>
          <p:nvPr/>
        </p:nvCxnSpPr>
        <p:spPr>
          <a:xfrm flipV="1">
            <a:off x="1591918" y="4221088"/>
            <a:ext cx="0" cy="279611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Picture 8" descr="ÐÐ°ÑÑÐ¸Ð½ÐºÐ¸ Ð¿Ð¾ Ð·Ð°Ð¿ÑÐ¾ÑÑ Ð¿ÑÐµÐ¼Ð¸Ñ Ð¿ÑÐ°Ð²Ð¸ÑÐµÐ»ÑÑÑÐ²Ð° ÑÑ Ð² Ð¾Ð±Ð»Ð°ÑÑÐ¸ ÐºÐ°ÑÐµÑÑÐ²Ð° ÐºÐ°ÑÑÐ¸Ð½ÐºÐ°">
            <a:extLst>
              <a:ext uri="{FF2B5EF4-FFF2-40B4-BE49-F238E27FC236}">
                <a16:creationId xmlns:a16="http://schemas.microsoft.com/office/drawing/2014/main" id="{FB002200-CF6A-4345-8F92-463001EF7D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5" r="12740"/>
          <a:stretch/>
        </p:blipFill>
        <p:spPr bwMode="auto">
          <a:xfrm>
            <a:off x="2844474" y="4360893"/>
            <a:ext cx="1581409" cy="1670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E52B40B7-0801-403C-A921-497979D4C3B9}"/>
              </a:ext>
            </a:extLst>
          </p:cNvPr>
          <p:cNvSpPr/>
          <p:nvPr/>
        </p:nvSpPr>
        <p:spPr>
          <a:xfrm>
            <a:off x="2736248" y="970277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61AEB40-4A6A-4696-B569-7B806C95A2C8}"/>
              </a:ext>
            </a:extLst>
          </p:cNvPr>
          <p:cNvSpPr txBox="1"/>
          <p:nvPr/>
        </p:nvSpPr>
        <p:spPr>
          <a:xfrm>
            <a:off x="2873939" y="1162994"/>
            <a:ext cx="15519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мия правительства в области качества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D41448B5-8818-47D7-AE57-7F36A03F15C1}"/>
              </a:ext>
            </a:extLst>
          </p:cNvPr>
          <p:cNvCxnSpPr>
            <a:cxnSpLocks/>
          </p:cNvCxnSpPr>
          <p:nvPr/>
        </p:nvCxnSpPr>
        <p:spPr>
          <a:xfrm>
            <a:off x="3707904" y="2482445"/>
            <a:ext cx="0" cy="333112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806E9460-8631-4A52-9A51-EFB168A418D8}"/>
              </a:ext>
            </a:extLst>
          </p:cNvPr>
          <p:cNvSpPr/>
          <p:nvPr/>
        </p:nvSpPr>
        <p:spPr>
          <a:xfrm>
            <a:off x="4708600" y="4500698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543EBF50-588B-45E9-9F83-B3BE599CFDBA}"/>
              </a:ext>
            </a:extLst>
          </p:cNvPr>
          <p:cNvCxnSpPr>
            <a:cxnSpLocks/>
          </p:cNvCxnSpPr>
          <p:nvPr/>
        </p:nvCxnSpPr>
        <p:spPr>
          <a:xfrm flipV="1">
            <a:off x="5689330" y="4221088"/>
            <a:ext cx="0" cy="279611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A5A94D10-C9CD-48C9-BFAC-572EC2F1A952}"/>
              </a:ext>
            </a:extLst>
          </p:cNvPr>
          <p:cNvSpPr txBox="1"/>
          <p:nvPr/>
        </p:nvSpPr>
        <p:spPr>
          <a:xfrm>
            <a:off x="4809272" y="4564285"/>
            <a:ext cx="172087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соответствия системе менеджмента качества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 9001:2015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Picture 6" descr="http://www.orthoscheb.com/upload/iblock/116/1160ecbc9d9f6ade74da8375b66adb36.jpg">
            <a:extLst>
              <a:ext uri="{FF2B5EF4-FFF2-40B4-BE49-F238E27FC236}">
                <a16:creationId xmlns:a16="http://schemas.microsoft.com/office/drawing/2014/main" id="{3A5635BF-0CD9-4B03-97CB-213AAE4C9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3536" y="4017777"/>
            <a:ext cx="1581407" cy="223696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Прямоугольник: скругленные углы 62">
            <a:extLst>
              <a:ext uri="{FF2B5EF4-FFF2-40B4-BE49-F238E27FC236}">
                <a16:creationId xmlns:a16="http://schemas.microsoft.com/office/drawing/2014/main" id="{C5962546-0369-4416-BEED-B7B3487AB764}"/>
              </a:ext>
            </a:extLst>
          </p:cNvPr>
          <p:cNvSpPr/>
          <p:nvPr/>
        </p:nvSpPr>
        <p:spPr>
          <a:xfrm>
            <a:off x="6823012" y="970277"/>
            <a:ext cx="1961461" cy="1512168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289B6BA-A2ED-468D-983B-54211C69417C}"/>
              </a:ext>
            </a:extLst>
          </p:cNvPr>
          <p:cNvSpPr txBox="1"/>
          <p:nvPr/>
        </p:nvSpPr>
        <p:spPr>
          <a:xfrm>
            <a:off x="6960707" y="1075544"/>
            <a:ext cx="171553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 от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QM -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zed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lence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«Признанный за превосходство»)</a:t>
            </a: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A610FAB8-B078-4D11-A996-E6BF76C6C68C}"/>
              </a:ext>
            </a:extLst>
          </p:cNvPr>
          <p:cNvCxnSpPr>
            <a:cxnSpLocks/>
          </p:cNvCxnSpPr>
          <p:nvPr/>
        </p:nvCxnSpPr>
        <p:spPr>
          <a:xfrm>
            <a:off x="7794668" y="2482445"/>
            <a:ext cx="0" cy="333112"/>
          </a:xfrm>
          <a:prstGeom prst="line">
            <a:avLst/>
          </a:prstGeom>
          <a:ln w="25400">
            <a:solidFill>
              <a:srgbClr val="00206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Группа 17">
            <a:extLst>
              <a:ext uri="{FF2B5EF4-FFF2-40B4-BE49-F238E27FC236}">
                <a16:creationId xmlns:a16="http://schemas.microsoft.com/office/drawing/2014/main" id="{F81EDDD4-2067-412F-A3C0-4CE9FF6DD744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67" name="Пятиугольник 9">
              <a:extLst>
                <a:ext uri="{FF2B5EF4-FFF2-40B4-BE49-F238E27FC236}">
                  <a16:creationId xmlns:a16="http://schemas.microsoft.com/office/drawing/2014/main" id="{B275CB0A-837C-4AA4-A894-2516C272E3D1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id="{99700CE9-A2F5-4773-95B4-C53519776D71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69" name="TextBox 46">
              <a:extLst>
                <a:ext uri="{FF2B5EF4-FFF2-40B4-BE49-F238E27FC236}">
                  <a16:creationId xmlns:a16="http://schemas.microsoft.com/office/drawing/2014/main" id="{2F8F4CAF-5D84-4605-9119-6FA9475450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70" name="Прямая соединительная линия 69">
              <a:extLst>
                <a:ext uri="{FF2B5EF4-FFF2-40B4-BE49-F238E27FC236}">
                  <a16:creationId xmlns:a16="http://schemas.microsoft.com/office/drawing/2014/main" id="{64CCF360-034C-418B-B067-FFD4BBF49A75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" name="Picture 4" descr="D:\111\Буклет\Буклет 2011\чувашский_атаманов.jpg">
              <a:extLst>
                <a:ext uri="{FF2B5EF4-FFF2-40B4-BE49-F238E27FC236}">
                  <a16:creationId xmlns:a16="http://schemas.microsoft.com/office/drawing/2014/main" id="{97EB5E38-730E-4E1E-87B3-6BB8A4CAB7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55893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baryshov.com/livejournalfiles/post/2014/2014.06.23/0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9" b="2979"/>
          <a:stretch/>
        </p:blipFill>
        <p:spPr bwMode="auto">
          <a:xfrm>
            <a:off x="-36512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Блок-схема: ручной ввод 3"/>
          <p:cNvSpPr/>
          <p:nvPr/>
        </p:nvSpPr>
        <p:spPr>
          <a:xfrm rot="5400000" flipH="1">
            <a:off x="-1245676" y="1046275"/>
            <a:ext cx="6858000" cy="4777351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215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215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2215"/>
                </a:move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2215"/>
                </a:lnTo>
                <a:close/>
              </a:path>
            </a:pathLst>
          </a:custGeom>
          <a:solidFill>
            <a:schemeClr val="tx2">
              <a:lumMod val="7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47120" y="2132856"/>
            <a:ext cx="36724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ДАРЮ </a:t>
            </a:r>
          </a:p>
          <a:p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НИМАНИЕ!</a:t>
            </a:r>
          </a:p>
        </p:txBody>
      </p:sp>
      <p:sp>
        <p:nvSpPr>
          <p:cNvPr id="8" name="TextBox 46"/>
          <p:cNvSpPr txBox="1">
            <a:spLocks noChangeArrowheads="1"/>
          </p:cNvSpPr>
          <p:nvPr/>
        </p:nvSpPr>
        <p:spPr bwMode="auto">
          <a:xfrm>
            <a:off x="1312741" y="6187117"/>
            <a:ext cx="2216395" cy="554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>
                <a:solidFill>
                  <a:schemeClr val="bg1"/>
                </a:solidFill>
              </a:rPr>
              <a:t>ФГБУ «ФЦТОЭ» </a:t>
            </a:r>
          </a:p>
          <a:p>
            <a:r>
              <a:rPr lang="ru-RU" sz="1000" dirty="0">
                <a:solidFill>
                  <a:schemeClr val="bg1"/>
                </a:solidFill>
              </a:rPr>
              <a:t>Минздрава России </a:t>
            </a:r>
          </a:p>
          <a:p>
            <a:r>
              <a:rPr lang="ru-RU" sz="1000" dirty="0">
                <a:solidFill>
                  <a:schemeClr val="bg1"/>
                </a:solidFill>
              </a:rPr>
              <a:t>(г.Чебоксары)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611560" y="6138029"/>
            <a:ext cx="0" cy="561975"/>
          </a:xfrm>
          <a:prstGeom prst="line">
            <a:avLst/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D:\111\Буклет\Буклет 2011\чувашский_атаманов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6161090"/>
            <a:ext cx="542826" cy="538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" name="Стрелка вправо 17"/>
          <p:cNvSpPr/>
          <p:nvPr/>
        </p:nvSpPr>
        <p:spPr>
          <a:xfrm>
            <a:off x="4144900" y="2543136"/>
            <a:ext cx="526939" cy="1197053"/>
          </a:xfrm>
          <a:prstGeom prst="rightArrow">
            <a:avLst/>
          </a:prstGeom>
          <a:solidFill>
            <a:srgbClr val="E9EFF7"/>
          </a:solidFill>
          <a:ln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1677825" y="4321627"/>
            <a:ext cx="12329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1 год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43848" y="5460559"/>
            <a:ext cx="8720640" cy="369332"/>
          </a:xfrm>
          <a:prstGeom prst="rect">
            <a:avLst/>
          </a:prstGeom>
          <a:ln w="19050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Сертификация системы менеджмента на соответствие требованиям </a:t>
            </a:r>
            <a:r>
              <a:rPr lang="ru-RU" b="1" dirty="0">
                <a:solidFill>
                  <a:srgbClr val="C00000"/>
                </a:solidFill>
              </a:rPr>
              <a:t>ИСО 9001:2008 г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81460" y="618903"/>
            <a:ext cx="8208962" cy="895320"/>
          </a:xfrm>
          <a:prstGeom prst="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ША МИССИ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МЫ ДАРИМ ВАМ РАДОСТЬ ДВИЖЕНИЯ! 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КАЧЕСТВА ЛЕЧЕНИЯ - К КАЧЕСТВУ ЖИЗНИ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062308" y="1810936"/>
            <a:ext cx="3591384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ентация на пациен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тивация и вовлеченность высшего руковод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ный подход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усовершенствование</a:t>
            </a:r>
            <a:endParaRPr lang="ru-RU" sz="2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16" y="1986176"/>
            <a:ext cx="2357320" cy="2174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73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50737735"/>
              </p:ext>
            </p:extLst>
          </p:nvPr>
        </p:nvGraphicFramePr>
        <p:xfrm>
          <a:off x="3331076" y="2635250"/>
          <a:ext cx="5729641" cy="37692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557777" y="3154865"/>
            <a:ext cx="284965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е аудиты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это самый важный инструмент для укрепления, оздоровления и улучшения системы менеджмента качества</a:t>
            </a:r>
          </a:p>
          <a:p>
            <a:endParaRPr lang="ru-RU" sz="2000" dirty="0"/>
          </a:p>
        </p:txBody>
      </p:sp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3641056793"/>
              </p:ext>
            </p:extLst>
          </p:nvPr>
        </p:nvGraphicFramePr>
        <p:xfrm>
          <a:off x="185825" y="390163"/>
          <a:ext cx="8377150" cy="41077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5BEA128-DB10-4CC5-BA24-768D8964C77B}"/>
              </a:ext>
            </a:extLst>
          </p:cNvPr>
          <p:cNvSpPr/>
          <p:nvPr/>
        </p:nvSpPr>
        <p:spPr>
          <a:xfrm>
            <a:off x="3859790" y="5416767"/>
            <a:ext cx="2008354" cy="835609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DB5BED0-3ADE-4BB8-A8E2-CA125F7AFC90}"/>
              </a:ext>
            </a:extLst>
          </p:cNvPr>
          <p:cNvSpPr/>
          <p:nvPr/>
        </p:nvSpPr>
        <p:spPr>
          <a:xfrm>
            <a:off x="3978689" y="5297167"/>
            <a:ext cx="21102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УТРЕННИЙ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</a:t>
            </a:r>
          </a:p>
        </p:txBody>
      </p:sp>
    </p:spTree>
    <p:extLst>
      <p:ext uri="{BB962C8B-B14F-4D97-AF65-F5344CB8AC3E}">
        <p14:creationId xmlns:p14="http://schemas.microsoft.com/office/powerpoint/2010/main" val="3611737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19987" y="2386078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TextBox 4"/>
          <p:cNvSpPr txBox="1"/>
          <p:nvPr/>
        </p:nvSpPr>
        <p:spPr>
          <a:xfrm>
            <a:off x="842540" y="253384"/>
            <a:ext cx="8049939" cy="4001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И КОНТРОЛЯ (АУДИТА) </a:t>
            </a:r>
          </a:p>
        </p:txBody>
      </p:sp>
      <p:sp>
        <p:nvSpPr>
          <p:cNvPr id="7181" name="Прямоугольник 7180"/>
          <p:cNvSpPr/>
          <p:nvPr/>
        </p:nvSpPr>
        <p:spPr>
          <a:xfrm>
            <a:off x="755576" y="908720"/>
            <a:ext cx="144016" cy="4042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076825" y="940004"/>
            <a:ext cx="144016" cy="4042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183" name="Прямая соединительная линия 7182"/>
          <p:cNvCxnSpPr/>
          <p:nvPr/>
        </p:nvCxnSpPr>
        <p:spPr>
          <a:xfrm>
            <a:off x="734529" y="1392537"/>
            <a:ext cx="3528392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5062741" y="1392537"/>
            <a:ext cx="3528392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85" name="Прямоугольник 7184"/>
          <p:cNvSpPr/>
          <p:nvPr/>
        </p:nvSpPr>
        <p:spPr>
          <a:xfrm>
            <a:off x="968443" y="935968"/>
            <a:ext cx="24514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АУДИТА</a:t>
            </a:r>
          </a:p>
        </p:txBody>
      </p:sp>
      <p:sp>
        <p:nvSpPr>
          <p:cNvPr id="7186" name="Прямоугольник 7185"/>
          <p:cNvSpPr/>
          <p:nvPr/>
        </p:nvSpPr>
        <p:spPr>
          <a:xfrm>
            <a:off x="5352719" y="935968"/>
            <a:ext cx="29484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ИЕ ГРУППЫ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79249" y="1578256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ИЕ РАБОТНИКИ ОРГАНИЗАЦИИ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79249" y="2193223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НЫЕ ПОДРАЗДЕЛЕНИ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780283" y="2761183"/>
            <a:ext cx="303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АЦИЯ (ЗАПИСИ)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62741" y="3148513"/>
            <a:ext cx="375740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 ПО СЕСТРИНСКОМУ ДЕЛУ: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Й КОМИТЕТ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ИНФЕКЦИОННОЙ БЕЗОПАСНОСТИ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СЕСТРИНСКОЙ ПРАКТИКЕ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КОНТРОЛЮ ЗА ОБОРОТОМ ЛЕКАРСТВЕННЫХ СРЕДСТВ И МЕДИЦИНСКИХ ИЗДЕЛИЙ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ТЕТ ПО КУРАЦИИ МЛАДШЕГО МЕДИЦИНСКОГО ПЕРСОНАЛА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64752" y="1582765"/>
            <a:ext cx="35263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АЧЕБНАЯ КОМИССИЯ (ВКЛЮЧАЯ РАЗЛИЧНЫЕ ПОДКОМИССИИ)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76056" y="2193223"/>
            <a:ext cx="29647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 ПО ЛЕЧЕБНОМУ ПИТАНИЮ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5AB6865-D741-4F75-B4AB-9FEB431FD3B6}"/>
              </a:ext>
            </a:extLst>
          </p:cNvPr>
          <p:cNvSpPr txBox="1"/>
          <p:nvPr/>
        </p:nvSpPr>
        <p:spPr>
          <a:xfrm>
            <a:off x="5076056" y="2761183"/>
            <a:ext cx="3528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УЛЯРНАЯ КОМИССИЯ И Т.Д.</a:t>
            </a:r>
          </a:p>
        </p:txBody>
      </p:sp>
      <p:pic>
        <p:nvPicPr>
          <p:cNvPr id="7187" name="Рисунок 718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236"/>
          <a:stretch/>
        </p:blipFill>
        <p:spPr>
          <a:xfrm>
            <a:off x="1036479" y="3425075"/>
            <a:ext cx="3181668" cy="192539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49230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00B6019-B30C-49B1-85C8-06D8C119714D}"/>
              </a:ext>
            </a:extLst>
          </p:cNvPr>
          <p:cNvSpPr/>
          <p:nvPr/>
        </p:nvSpPr>
        <p:spPr>
          <a:xfrm>
            <a:off x="289693" y="625498"/>
            <a:ext cx="8564614" cy="10518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B63BB18-3798-4883-8551-E2D5C8863D55}"/>
              </a:ext>
            </a:extLst>
          </p:cNvPr>
          <p:cNvSpPr/>
          <p:nvPr/>
        </p:nvSpPr>
        <p:spPr>
          <a:xfrm>
            <a:off x="278272" y="1758084"/>
            <a:ext cx="8529038" cy="9626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89693" y="2814007"/>
            <a:ext cx="8531528" cy="10057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4CDA69-1A6E-4AAA-B341-4F50AD622000}"/>
              </a:ext>
            </a:extLst>
          </p:cNvPr>
          <p:cNvSpPr txBox="1"/>
          <p:nvPr/>
        </p:nvSpPr>
        <p:spPr>
          <a:xfrm>
            <a:off x="824939" y="202333"/>
            <a:ext cx="80687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ИЕ ГРУППЫ СОВЕТА ПО СЕСТРИНСКОМУ ДЕЛУ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03E520-3427-48F1-8516-B7B1380C138A}"/>
              </a:ext>
            </a:extLst>
          </p:cNvPr>
          <p:cNvSpPr txBox="1"/>
          <p:nvPr/>
        </p:nvSpPr>
        <p:spPr>
          <a:xfrm>
            <a:off x="603208" y="698399"/>
            <a:ext cx="49272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Й КОМИТЕТ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73D1280-E2C2-47CA-9B66-490283351A21}"/>
              </a:ext>
            </a:extLst>
          </p:cNvPr>
          <p:cNvSpPr txBox="1"/>
          <p:nvPr/>
        </p:nvSpPr>
        <p:spPr>
          <a:xfrm>
            <a:off x="618733" y="2251417"/>
            <a:ext cx="4089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ИЕ НАВЫКИ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9A85E8-0C80-48D9-B607-AA9CBEE345E9}"/>
              </a:ext>
            </a:extLst>
          </p:cNvPr>
          <p:cNvSpPr txBox="1"/>
          <p:nvPr/>
        </p:nvSpPr>
        <p:spPr>
          <a:xfrm>
            <a:off x="627550" y="1937536"/>
            <a:ext cx="3448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ТРИНСКАЯ ПРАКТИК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71F033-4652-4DBC-A67A-A374F8616A2C}"/>
              </a:ext>
            </a:extLst>
          </p:cNvPr>
          <p:cNvSpPr txBox="1"/>
          <p:nvPr/>
        </p:nvSpPr>
        <p:spPr>
          <a:xfrm>
            <a:off x="636861" y="2971297"/>
            <a:ext cx="37237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И МЕДИЦИНСКИХ ИЗДЕЛИЙ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EFD1A59-3251-405C-B2ED-87D34FA51366}"/>
              </a:ext>
            </a:extLst>
          </p:cNvPr>
          <p:cNvSpPr txBox="1"/>
          <p:nvPr/>
        </p:nvSpPr>
        <p:spPr>
          <a:xfrm>
            <a:off x="4567191" y="548680"/>
            <a:ext cx="424815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непрерывности образовани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товый контроль знани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документирования проц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с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удовлетворенности пациентов качеством оказанной медицинской помощи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A5AC91-49C3-465B-AF0A-F6A3AB1E7490}"/>
              </a:ext>
            </a:extLst>
          </p:cNvPr>
          <p:cNvSpPr txBox="1"/>
          <p:nvPr/>
        </p:nvSpPr>
        <p:spPr>
          <a:xfrm>
            <a:off x="4574284" y="1750423"/>
            <a:ext cx="42458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актических навыков специалис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лечебного питани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профилактики катетеризации…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профилактики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лежене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C74C3AE-1F60-4FE9-B446-6B99135AA598}"/>
              </a:ext>
            </a:extLst>
          </p:cNvPr>
          <p:cNvSpPr txBox="1"/>
          <p:nvPr/>
        </p:nvSpPr>
        <p:spPr>
          <a:xfrm>
            <a:off x="4572000" y="2828118"/>
            <a:ext cx="436927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(в том числе ПКУ) и медицинских изделий: в соответствие требованиями СОП (утверждены в 2017г.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18733" y="974699"/>
            <a:ext cx="38934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Е КОМПЕТЕНЦИИ среднего и младшего медицинского персонала: 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1" name="Rectangle: Rounded Corners 12">
            <a:extLst>
              <a:ext uri="{FF2B5EF4-FFF2-40B4-BE49-F238E27FC236}">
                <a16:creationId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78272" y="5093252"/>
            <a:ext cx="8541878" cy="9961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sp>
        <p:nvSpPr>
          <p:cNvPr id="22" name="Rectangle: Rounded Corners 12">
            <a:extLst>
              <a:ext uri="{FF2B5EF4-FFF2-40B4-BE49-F238E27FC236}">
                <a16:creationId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289693" y="3905813"/>
            <a:ext cx="8565685" cy="114758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prstClr val="white"/>
              </a:solidFill>
            </a:endParaRPr>
          </a:p>
        </p:txBody>
      </p:sp>
      <p:sp>
        <p:nvSpPr>
          <p:cNvPr id="24" name="Rectangle: Rounded Corners 12">
            <a:extLst>
              <a:ext uri="{FF2B5EF4-FFF2-40B4-BE49-F238E27FC236}">
                <a16:creationId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617726" y="3903719"/>
            <a:ext cx="3384376" cy="5595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ЕКЦИОННАЯ БЕЗОПАСНОСТЬ</a:t>
            </a:r>
          </a:p>
        </p:txBody>
      </p:sp>
      <p:sp>
        <p:nvSpPr>
          <p:cNvPr id="25" name="Rectangle: Rounded Corners 12">
            <a:extLst>
              <a:ext uri="{FF2B5EF4-FFF2-40B4-BE49-F238E27FC236}">
                <a16:creationId xmlns:a16="http://schemas.microsoft.com/office/drawing/2014/main" id="{4021FD89-63A4-4212-9C11-AE838E1FC622}"/>
              </a:ext>
            </a:extLst>
          </p:cNvPr>
          <p:cNvSpPr/>
          <p:nvPr/>
        </p:nvSpPr>
        <p:spPr>
          <a:xfrm>
            <a:off x="617726" y="4363304"/>
            <a:ext cx="3893430" cy="5595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ПРОИЗВОДСТВЕННОГО КОНТРОЛЯ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C74C3AE-1F60-4FE9-B446-6B99135AA598}"/>
              </a:ext>
            </a:extLst>
          </p:cNvPr>
          <p:cNvSpPr txBox="1"/>
          <p:nvPr/>
        </p:nvSpPr>
        <p:spPr>
          <a:xfrm>
            <a:off x="4572000" y="3914757"/>
            <a:ext cx="436927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выполнением требований санитарно-эпидемиологического режима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результатов микробиологического контроля, в том числе при медосмотре сотрудников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1188" y="5329706"/>
            <a:ext cx="37576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АЦИЯ МЛАДШЕГО МЕДИЦИНСКОГО ПЕРСОНАЛА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98504" y="5205474"/>
            <a:ext cx="4208806" cy="735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5738" indent="-185738">
              <a:buFont typeface="Arial" panose="020B0604020202020204" pitchFamily="34" charset="0"/>
              <a:buChar char="•"/>
              <a:tabLst>
                <a:tab pos="357188" algn="l"/>
              </a:tabLs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актических навыков на рабочих местах или с использованием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муляционных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ологий</a:t>
            </a:r>
          </a:p>
        </p:txBody>
      </p:sp>
      <p:grpSp>
        <p:nvGrpSpPr>
          <p:cNvPr id="30" name="Группа 17">
            <a:extLst>
              <a:ext uri="{FF2B5EF4-FFF2-40B4-BE49-F238E27FC236}">
                <a16:creationId xmlns:a16="http://schemas.microsoft.com/office/drawing/2014/main" id="{11E54EFA-BAE4-46E9-8781-4D0851E2CE24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31" name="Пятиугольник 9">
              <a:extLst>
                <a:ext uri="{FF2B5EF4-FFF2-40B4-BE49-F238E27FC236}">
                  <a16:creationId xmlns:a16="http://schemas.microsoft.com/office/drawing/2014/main" id="{8D49A111-99BA-4018-8EE9-894996966208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9DBDBAAF-53A2-44B7-8F6D-8E1C1765F19F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33" name="TextBox 46">
              <a:extLst>
                <a:ext uri="{FF2B5EF4-FFF2-40B4-BE49-F238E27FC236}">
                  <a16:creationId xmlns:a16="http://schemas.microsoft.com/office/drawing/2014/main" id="{3353B308-ABBD-417D-9E23-BBD7AC1505B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20AEAF84-F512-40B1-B31C-10F4D8E3409D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4" descr="D:\111\Буклет\Буклет 2011\чувашский_атаманов.jpg">
              <a:extLst>
                <a:ext uri="{FF2B5EF4-FFF2-40B4-BE49-F238E27FC236}">
                  <a16:creationId xmlns:a16="http://schemas.microsoft.com/office/drawing/2014/main" id="{6F7CF7E4-14A2-4A22-A088-6A14F4FAF2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08638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2729"/>
            <a:ext cx="8229600" cy="561975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МПЕТЕНЦИИ АУДИТОРОВ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C785C32A-8753-40B5-8B35-38B8ECB9529A}"/>
              </a:ext>
            </a:extLst>
          </p:cNvPr>
          <p:cNvSpPr/>
          <p:nvPr/>
        </p:nvSpPr>
        <p:spPr>
          <a:xfrm>
            <a:off x="5953816" y="5092569"/>
            <a:ext cx="2879998" cy="1028181"/>
          </a:xfrm>
          <a:prstGeom prst="roundRect">
            <a:avLst>
              <a:gd name="adj" fmla="val 0"/>
            </a:avLst>
          </a:prstGeom>
          <a:solidFill>
            <a:srgbClr val="E9EFF7"/>
          </a:solidFill>
          <a:ln w="12700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09.2018 г. в Центре обучены </a:t>
            </a:r>
            <a:r>
              <a:rPr lang="ru-RU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утренних аудиторов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B1C2F324-E5C3-48D4-A921-1DBDD6ABAB51}"/>
              </a:ext>
            </a:extLst>
          </p:cNvPr>
          <p:cNvGrpSpPr/>
          <p:nvPr/>
        </p:nvGrpSpPr>
        <p:grpSpPr>
          <a:xfrm>
            <a:off x="858090" y="836612"/>
            <a:ext cx="6954270" cy="5040659"/>
            <a:chOff x="1187624" y="836612"/>
            <a:chExt cx="6954270" cy="5040659"/>
          </a:xfrm>
        </p:grpSpPr>
        <p:graphicFrame>
          <p:nvGraphicFramePr>
            <p:cNvPr id="5" name="Схема 4">
              <a:extLst>
                <a:ext uri="{FF2B5EF4-FFF2-40B4-BE49-F238E27FC236}">
                  <a16:creationId xmlns:a16="http://schemas.microsoft.com/office/drawing/2014/main" id="{EDCE0763-FB2C-405B-8C32-813BBA6741F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990518953"/>
                </p:ext>
              </p:extLst>
            </p:nvPr>
          </p:nvGraphicFramePr>
          <p:xfrm>
            <a:off x="1187624" y="836612"/>
            <a:ext cx="6954270" cy="504065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51186B9D-2150-4BF4-AC71-AF75A6BC59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1619672" y="4412328"/>
              <a:ext cx="1112961" cy="953802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54C27211-4EBF-4B97-A536-F9A637FFBE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3462471" y="3458526"/>
              <a:ext cx="1112961" cy="953802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C747E324-FE6C-496F-A350-4BB809D3AE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4300"/>
            <a:stretch/>
          </p:blipFill>
          <p:spPr>
            <a:xfrm>
              <a:off x="4329758" y="1872807"/>
              <a:ext cx="1059160" cy="907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82125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54E5E97-208E-43AE-BCDE-1F29714EB426}"/>
              </a:ext>
            </a:extLst>
          </p:cNvPr>
          <p:cNvSpPr/>
          <p:nvPr/>
        </p:nvSpPr>
        <p:spPr>
          <a:xfrm>
            <a:off x="6111441" y="1868781"/>
            <a:ext cx="2778659" cy="3876745"/>
          </a:xfrm>
          <a:prstGeom prst="roundRect">
            <a:avLst>
              <a:gd name="adj" fmla="val 432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3C1E415-7260-41C8-AD44-8F38BBB37B22}"/>
              </a:ext>
            </a:extLst>
          </p:cNvPr>
          <p:cNvSpPr/>
          <p:nvPr/>
        </p:nvSpPr>
        <p:spPr>
          <a:xfrm>
            <a:off x="3182670" y="1881118"/>
            <a:ext cx="2778659" cy="3876745"/>
          </a:xfrm>
          <a:prstGeom prst="roundRect">
            <a:avLst>
              <a:gd name="adj" fmla="val 329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лады  и места хранения: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тивная поликлиника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ные отделения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ые подразд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ения 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тека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-листы </a:t>
            </a:r>
            <a:endParaRPr lang="ru-RU" sz="1400" b="1" dirty="0"/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7CAA485-A185-48BD-8D03-DFEB79E30FB2}"/>
              </a:ext>
            </a:extLst>
          </p:cNvPr>
          <p:cNvSpPr/>
          <p:nvPr/>
        </p:nvSpPr>
        <p:spPr>
          <a:xfrm>
            <a:off x="358576" y="1881626"/>
            <a:ext cx="2747866" cy="3876745"/>
          </a:xfrm>
          <a:prstGeom prst="roundRect">
            <a:avLst>
              <a:gd name="adj" fmla="val 4841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C9C5FF-288B-4CB4-8904-E6793E9FA507}"/>
              </a:ext>
            </a:extLst>
          </p:cNvPr>
          <p:cNvSpPr txBox="1"/>
          <p:nvPr/>
        </p:nvSpPr>
        <p:spPr>
          <a:xfrm>
            <a:off x="473938" y="2911380"/>
            <a:ext cx="215181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ка соответствия требованиям СОП «Правила надлежащей практики приема, хранения, учета лекарственных средств» (№3-1-2017, №4-1-2017, №5-1-2017), утвержденных в Центре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6C2E54-D441-45A9-9F88-52198C993AEE}"/>
              </a:ext>
            </a:extLst>
          </p:cNvPr>
          <p:cNvSpPr txBox="1"/>
          <p:nvPr/>
        </p:nvSpPr>
        <p:spPr>
          <a:xfrm>
            <a:off x="6220834" y="2998698"/>
            <a:ext cx="20270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ота:</a:t>
            </a:r>
          </a:p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реже 2 раз в год</a:t>
            </a: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43FA9D-7E65-46AB-95BB-AE1CBD444750}"/>
              </a:ext>
            </a:extLst>
          </p:cNvPr>
          <p:cNvSpPr txBox="1"/>
          <p:nvPr/>
        </p:nvSpPr>
        <p:spPr>
          <a:xfrm>
            <a:off x="6220833" y="3581855"/>
            <a:ext cx="235051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иторская группа:</a:t>
            </a:r>
          </a:p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за оборотом лекарственных средств и медицинских издели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</a:t>
            </a: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2B2BF99F-9AE5-407F-A507-D900C7328D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261" y="2069980"/>
            <a:ext cx="1047085" cy="747757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CCB9F877-0C6B-4154-AD87-192B70795685}"/>
              </a:ext>
            </a:extLst>
          </p:cNvPr>
          <p:cNvSpPr txBox="1"/>
          <p:nvPr/>
        </p:nvSpPr>
        <p:spPr>
          <a:xfrm>
            <a:off x="746298" y="111314"/>
            <a:ext cx="80967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АУДИТОРСКОЙ ГРУППЫ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ОНТРОЛЬ ЗА ОБОРОТОМ ЛЕКАРСТВЕННЫХ СРЕДСТВ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МЕДИЦИНСКИХ ИЗДЕЛИЙ»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23333" y="172453"/>
            <a:ext cx="121735" cy="9233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03C6EE-8EA7-4476-851A-FCE8C944CE47}"/>
              </a:ext>
            </a:extLst>
          </p:cNvPr>
          <p:cNvSpPr txBox="1"/>
          <p:nvPr/>
        </p:nvSpPr>
        <p:spPr>
          <a:xfrm>
            <a:off x="452266" y="1448895"/>
            <a:ext cx="19413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: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398" y="1983514"/>
            <a:ext cx="1248179" cy="81966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5127" y="2030076"/>
            <a:ext cx="1077623" cy="695241"/>
          </a:xfrm>
          <a:prstGeom prst="rect">
            <a:avLst/>
          </a:prstGeom>
        </p:spPr>
      </p:pic>
      <p:grpSp>
        <p:nvGrpSpPr>
          <p:cNvPr id="14" name="Группа 17">
            <a:extLst>
              <a:ext uri="{FF2B5EF4-FFF2-40B4-BE49-F238E27FC236}">
                <a16:creationId xmlns:a16="http://schemas.microsoft.com/office/drawing/2014/main" id="{1A163A66-A641-45E3-898B-A4A889693696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7" name="Пятиугольник 9">
              <a:extLst>
                <a:ext uri="{FF2B5EF4-FFF2-40B4-BE49-F238E27FC236}">
                  <a16:creationId xmlns:a16="http://schemas.microsoft.com/office/drawing/2014/main" id="{2ECF93CC-A606-4330-988F-DA63D7896F44}"/>
                </a:ext>
              </a:extLst>
            </p:cNvPr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F81DDAE5-72B0-4DAC-A8A7-A2BC592102E6}"/>
                </a:ext>
              </a:extLst>
            </p:cNvPr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9" name="TextBox 46">
              <a:extLst>
                <a:ext uri="{FF2B5EF4-FFF2-40B4-BE49-F238E27FC236}">
                  <a16:creationId xmlns:a16="http://schemas.microsoft.com/office/drawing/2014/main" id="{D4841A32-FEF7-4702-990C-112A201CAD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6E50909D-17A6-4D2E-A41C-1C21A854B0DD}"/>
                </a:ext>
              </a:extLst>
            </p:cNvPr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5" name="Picture 4" descr="D:\111\Буклет\Буклет 2011\чувашский_атаманов.jpg">
              <a:extLst>
                <a:ext uri="{FF2B5EF4-FFF2-40B4-BE49-F238E27FC236}">
                  <a16:creationId xmlns:a16="http://schemas.microsoft.com/office/drawing/2014/main" id="{E70D2C34-C4E1-4B3C-8B7D-1C73580108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3701738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72311" y="2406671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666600"/>
              </p:ext>
            </p:extLst>
          </p:nvPr>
        </p:nvGraphicFramePr>
        <p:xfrm>
          <a:off x="632449" y="1340768"/>
          <a:ext cx="8116015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8058" y="203702"/>
            <a:ext cx="8052092" cy="850106"/>
          </a:xfrm>
        </p:spPr>
        <p:txBody>
          <a:bodyPr>
            <a:normAutofit fontScale="90000"/>
          </a:bodyPr>
          <a:lstStyle/>
          <a:p>
            <a:pPr lvl="0" algn="l" eaLnBrk="0" fontAlgn="base" hangingPunct="0">
              <a:spcAft>
                <a:spcPct val="0"/>
              </a:spcAft>
            </a:pP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АВНАЯ МЕДИЦИНСКАЯ СЕСТРА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ПРАВЛЯЕТ АУДИТОМ В РАМКАХ АУДИТОРСКОЙ ГРУППЫ СОВЕТА ПО СЕСТРИНСКОМУ ДЕЛУ</a:t>
            </a:r>
            <a:endParaRPr lang="ru-RU" sz="4800" dirty="0"/>
          </a:p>
        </p:txBody>
      </p:sp>
      <p:sp>
        <p:nvSpPr>
          <p:cNvPr id="4" name="TextBox 3"/>
          <p:cNvSpPr txBox="1"/>
          <p:nvPr/>
        </p:nvSpPr>
        <p:spPr>
          <a:xfrm>
            <a:off x="963151" y="2537640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</a:p>
        </p:txBody>
      </p:sp>
      <p:sp>
        <p:nvSpPr>
          <p:cNvPr id="5" name="Стрелка вниз 4"/>
          <p:cNvSpPr/>
          <p:nvPr/>
        </p:nvSpPr>
        <p:spPr>
          <a:xfrm>
            <a:off x="995813" y="2154675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1037642" y="3316072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916665" y="3785042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</a:t>
            </a:r>
          </a:p>
        </p:txBody>
      </p:sp>
      <p:sp>
        <p:nvSpPr>
          <p:cNvPr id="19" name="Стрелка вниз 18"/>
          <p:cNvSpPr/>
          <p:nvPr/>
        </p:nvSpPr>
        <p:spPr>
          <a:xfrm>
            <a:off x="1037641" y="4556601"/>
            <a:ext cx="677180" cy="338554"/>
          </a:xfrm>
          <a:prstGeom prst="downArrow">
            <a:avLst/>
          </a:prstGeom>
          <a:solidFill>
            <a:srgbClr val="E9EFF7"/>
          </a:solidFill>
          <a:ln w="9525">
            <a:solidFill>
              <a:srgbClr val="00206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789319" y="5137723"/>
            <a:ext cx="12440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B3B4E68-DB69-4319-9545-C476CE63EA71}"/>
              </a:ext>
            </a:extLst>
          </p:cNvPr>
          <p:cNvSpPr/>
          <p:nvPr/>
        </p:nvSpPr>
        <p:spPr>
          <a:xfrm>
            <a:off x="523333" y="172453"/>
            <a:ext cx="121735" cy="92333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4736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5" name="Прямоугольник 11"/>
          <p:cNvSpPr>
            <a:spLocks noChangeArrowheads="1"/>
          </p:cNvSpPr>
          <p:nvPr/>
        </p:nvSpPr>
        <p:spPr bwMode="auto">
          <a:xfrm>
            <a:off x="2051050" y="2635250"/>
            <a:ext cx="48069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chemeClr val="accent1"/>
              </a:buClr>
              <a:buSzPct val="70000"/>
            </a:pPr>
            <a:endParaRPr lang="ru-RU" sz="1100" b="1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9" name="Группа 17"/>
          <p:cNvGrpSpPr>
            <a:grpSpLocks/>
          </p:cNvGrpSpPr>
          <p:nvPr/>
        </p:nvGrpSpPr>
        <p:grpSpPr bwMode="auto">
          <a:xfrm>
            <a:off x="323850" y="6165304"/>
            <a:ext cx="8496300" cy="580026"/>
            <a:chOff x="647700" y="6131417"/>
            <a:chExt cx="8496300" cy="578981"/>
          </a:xfrm>
        </p:grpSpPr>
        <p:sp>
          <p:nvSpPr>
            <p:cNvPr id="10" name="Пятиугольник 9"/>
            <p:cNvSpPr/>
            <p:nvPr/>
          </p:nvSpPr>
          <p:spPr bwMode="auto">
            <a:xfrm rot="10800000">
              <a:off x="3203575" y="6453098"/>
              <a:ext cx="5940425" cy="21551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2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6964363" y="6581455"/>
              <a:ext cx="1922462" cy="11567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dirty="0"/>
            </a:p>
          </p:txBody>
        </p:sp>
        <p:sp>
          <p:nvSpPr>
            <p:cNvPr id="14" name="TextBox 46"/>
            <p:cNvSpPr txBox="1">
              <a:spLocks noChangeArrowheads="1"/>
            </p:cNvSpPr>
            <p:nvPr/>
          </p:nvSpPr>
          <p:spPr bwMode="auto">
            <a:xfrm>
              <a:off x="1312741" y="6157398"/>
              <a:ext cx="2216395" cy="553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sz="1000" b="1" dirty="0">
                  <a:solidFill>
                    <a:srgbClr val="002060"/>
                  </a:solidFill>
                </a:rPr>
                <a:t>ФГБУ «ФЦТОЭ»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Минздрава России </a:t>
              </a:r>
            </a:p>
            <a:p>
              <a:r>
                <a:rPr lang="ru-RU" sz="1000" dirty="0">
                  <a:solidFill>
                    <a:srgbClr val="002060"/>
                  </a:solidFill>
                </a:rPr>
                <a:t>(г.Чебоксары)</a:t>
              </a: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 bwMode="auto">
            <a:xfrm>
              <a:off x="647700" y="6137756"/>
              <a:ext cx="0" cy="560962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Picture 4" descr="D:\111\Буклет\Буклет 2011\чувашский_атаманов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55576" y="6131417"/>
              <a:ext cx="542826" cy="5379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17" name="Содержимое 1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4564416"/>
              </p:ext>
            </p:extLst>
          </p:nvPr>
        </p:nvGraphicFramePr>
        <p:xfrm>
          <a:off x="539552" y="1124744"/>
          <a:ext cx="8229600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78098"/>
          </a:xfrm>
        </p:spPr>
        <p:txBody>
          <a:bodyPr>
            <a:norm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НЫЕ ПРИНЦИПЫ АУДИТА</a:t>
            </a:r>
          </a:p>
        </p:txBody>
      </p:sp>
      <p:cxnSp>
        <p:nvCxnSpPr>
          <p:cNvPr id="24" name="Прямая соединительная линия 23"/>
          <p:cNvCxnSpPr>
            <a:cxnSpLocks/>
          </p:cNvCxnSpPr>
          <p:nvPr/>
        </p:nvCxnSpPr>
        <p:spPr>
          <a:xfrm>
            <a:off x="5076056" y="1772816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4CF3DFA-FD8C-44A7-B323-A8F132585C39}"/>
              </a:ext>
            </a:extLst>
          </p:cNvPr>
          <p:cNvCxnSpPr>
            <a:cxnSpLocks/>
          </p:cNvCxnSpPr>
          <p:nvPr/>
        </p:nvCxnSpPr>
        <p:spPr>
          <a:xfrm>
            <a:off x="1115145" y="4437112"/>
            <a:ext cx="3024336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AB4ED538-27A0-49AB-8A44-D2576321D125}"/>
              </a:ext>
            </a:extLst>
          </p:cNvPr>
          <p:cNvCxnSpPr>
            <a:cxnSpLocks/>
          </p:cNvCxnSpPr>
          <p:nvPr/>
        </p:nvCxnSpPr>
        <p:spPr>
          <a:xfrm>
            <a:off x="988891" y="1799128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9B5CE97-3F10-4FFC-A80D-A12CBC7D2C8E}"/>
              </a:ext>
            </a:extLst>
          </p:cNvPr>
          <p:cNvCxnSpPr>
            <a:cxnSpLocks/>
          </p:cNvCxnSpPr>
          <p:nvPr/>
        </p:nvCxnSpPr>
        <p:spPr>
          <a:xfrm>
            <a:off x="5076056" y="4437112"/>
            <a:ext cx="329507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DFEAD1B-A677-4852-B5E2-4DAB967B0463}"/>
              </a:ext>
            </a:extLst>
          </p:cNvPr>
          <p:cNvSpPr/>
          <p:nvPr/>
        </p:nvSpPr>
        <p:spPr>
          <a:xfrm>
            <a:off x="5648439" y="3926246"/>
            <a:ext cx="2451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НЕЗАВИСИМОСТЬ</a:t>
            </a:r>
            <a:r>
              <a:rPr lang="ru-RU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en-US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1F6A9BD-C619-480C-BE1E-E1A7DEA40548}"/>
              </a:ext>
            </a:extLst>
          </p:cNvPr>
          <p:cNvSpPr/>
          <p:nvPr/>
        </p:nvSpPr>
        <p:spPr>
          <a:xfrm>
            <a:off x="5076056" y="4597143"/>
            <a:ext cx="329507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а беспристрастности и </a:t>
            </a:r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ивности заключений по результатам аудиторы должны быть свободны от конфликтов интересов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1635E89-CF18-4C2A-B714-5E7D5F1AC260}"/>
              </a:ext>
            </a:extLst>
          </p:cNvPr>
          <p:cNvSpPr/>
          <p:nvPr/>
        </p:nvSpPr>
        <p:spPr>
          <a:xfrm>
            <a:off x="5076056" y="2002831"/>
            <a:ext cx="33624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язательство представлять </a:t>
            </a:r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авдивые и точные отчеты     </a:t>
            </a:r>
          </a:p>
        </p:txBody>
      </p:sp>
    </p:spTree>
    <p:extLst>
      <p:ext uri="{BB962C8B-B14F-4D97-AF65-F5344CB8AC3E}">
        <p14:creationId xmlns:p14="http://schemas.microsoft.com/office/powerpoint/2010/main" val="268218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Fv_5wjR_enxKj8q9Qv9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18148A8-122F-42FE-90E3-03C3CBC89265}">
  <we:reference id="wa104038830" version="1.0.0.3" store="ru-RU" storeType="OMEX"/>
  <we:alternateReferences>
    <we:reference id="WA104038830" version="1.0.0.3" store="WA104038830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5744</TotalTime>
  <Words>768</Words>
  <Application>Microsoft Office PowerPoint</Application>
  <PresentationFormat>Экран (4:3)</PresentationFormat>
  <Paragraphs>220</Paragraphs>
  <Slides>14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Arial</vt:lpstr>
      <vt:lpstr>Bebas Neue Bold</vt:lpstr>
      <vt:lpstr>Bebas Neue Regular</vt:lpstr>
      <vt:lpstr>Calibri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ЕТЕНЦИИ АУДИТОРОВ</vt:lpstr>
      <vt:lpstr>Презентация PowerPoint</vt:lpstr>
      <vt:lpstr>ГЛАВНАЯ МЕДИЦИНСКАЯ СЕСТРА УПРАВЛЯЕТ АУДИТОМ В РАМКАХ АУДИТОРСКОЙ ГРУППЫ СОВЕТА ПО СЕСТРИНСКОМУ ДЕЛУ</vt:lpstr>
      <vt:lpstr>ОСНОВНЫЕ ПРИНЦИПЫ АУДИТА</vt:lpstr>
      <vt:lpstr>ЭТАПЫ ВНУТРЕННЕГО АУДИТА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G Win&amp;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Oleg</dc:creator>
  <cp:lastModifiedBy>elena</cp:lastModifiedBy>
  <cp:revision>486</cp:revision>
  <cp:lastPrinted>2015-05-14T16:41:52Z</cp:lastPrinted>
  <dcterms:created xsi:type="dcterms:W3CDTF">2014-05-17T16:57:25Z</dcterms:created>
  <dcterms:modified xsi:type="dcterms:W3CDTF">2018-11-25T18:18:50Z</dcterms:modified>
</cp:coreProperties>
</file>